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6867" r:id="rId4"/>
  </p:sldMasterIdLst>
  <p:notesMasterIdLst>
    <p:notesMasterId r:id="rId36"/>
  </p:notesMasterIdLst>
  <p:handoutMasterIdLst>
    <p:handoutMasterId r:id="rId37"/>
  </p:handoutMasterIdLst>
  <p:sldIdLst>
    <p:sldId id="2147479338" r:id="rId5"/>
    <p:sldId id="2147479870" r:id="rId6"/>
    <p:sldId id="2147479874" r:id="rId7"/>
    <p:sldId id="2147479872" r:id="rId8"/>
    <p:sldId id="2147479871" r:id="rId9"/>
    <p:sldId id="2147479873" r:id="rId10"/>
    <p:sldId id="2147479877" r:id="rId11"/>
    <p:sldId id="2147483636" r:id="rId12"/>
    <p:sldId id="2147483533" r:id="rId13"/>
    <p:sldId id="2147483541" r:id="rId14"/>
    <p:sldId id="2147483632" r:id="rId15"/>
    <p:sldId id="2147483633" r:id="rId16"/>
    <p:sldId id="2147483548" r:id="rId17"/>
    <p:sldId id="257" r:id="rId18"/>
    <p:sldId id="2147483635" r:id="rId19"/>
    <p:sldId id="2147483593" r:id="rId20"/>
    <p:sldId id="2147483643" r:id="rId21"/>
    <p:sldId id="2147483639" r:id="rId22"/>
    <p:sldId id="2147483640" r:id="rId23"/>
    <p:sldId id="287" r:id="rId24"/>
    <p:sldId id="2147483641" r:id="rId25"/>
    <p:sldId id="283" r:id="rId26"/>
    <p:sldId id="2147483642" r:id="rId27"/>
    <p:sldId id="2147483582" r:id="rId28"/>
    <p:sldId id="2147483634" r:id="rId29"/>
    <p:sldId id="2147482691" r:id="rId30"/>
    <p:sldId id="2147483585" r:id="rId31"/>
    <p:sldId id="2147483586" r:id="rId32"/>
    <p:sldId id="2147483583" r:id="rId33"/>
    <p:sldId id="2147483584" r:id="rId34"/>
    <p:sldId id="2147479331" r:id="rId35"/>
  </p:sldIdLst>
  <p:sldSz cx="9144000" cy="5143500" type="screen16x9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1pPr>
    <a:lvl2pPr marL="333308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2pPr>
    <a:lvl3pPr marL="666615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3pPr>
    <a:lvl4pPr marL="999921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4pPr>
    <a:lvl5pPr marL="1333229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5pPr>
    <a:lvl6pPr marL="1666534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6pPr>
    <a:lvl7pPr marL="1999842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7pPr>
    <a:lvl8pPr marL="2333150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8pPr>
    <a:lvl9pPr marL="2666456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5" pos="415" userDrawn="1">
          <p15:clr>
            <a:srgbClr val="A4A3A4"/>
          </p15:clr>
        </p15:guide>
        <p15:guide id="6" pos="385" userDrawn="1">
          <p15:clr>
            <a:srgbClr val="A4A3A4"/>
          </p15:clr>
        </p15:guide>
        <p15:guide id="7" orient="horz" pos="1490" userDrawn="1">
          <p15:clr>
            <a:srgbClr val="A4A3A4"/>
          </p15:clr>
        </p15:guide>
        <p15:guide id="8" orient="horz" pos="529" userDrawn="1">
          <p15:clr>
            <a:srgbClr val="A4A3A4"/>
          </p15:clr>
        </p15:guide>
        <p15:guide id="9" pos="887" userDrawn="1">
          <p15:clr>
            <a:srgbClr val="A4A3A4"/>
          </p15:clr>
        </p15:guide>
        <p15:guide id="10" pos="4044" userDrawn="1">
          <p15:clr>
            <a:srgbClr val="A4A3A4"/>
          </p15:clr>
        </p15:guide>
        <p15:guide id="11" pos="1106" userDrawn="1">
          <p15:clr>
            <a:srgbClr val="A4A3A4"/>
          </p15:clr>
        </p15:guide>
        <p15:guide id="12" orient="horz" pos="3229" userDrawn="1">
          <p15:clr>
            <a:srgbClr val="A4A3A4"/>
          </p15:clr>
        </p15:guide>
        <p15:guide id="13" orient="horz" pos="23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16" userDrawn="1">
          <p15:clr>
            <a:srgbClr val="A4A3A4"/>
          </p15:clr>
        </p15:guide>
        <p15:guide id="2" pos="2392" userDrawn="1">
          <p15:clr>
            <a:srgbClr val="A4A3A4"/>
          </p15:clr>
        </p15:guide>
        <p15:guide id="3" orient="horz" pos="2578" userDrawn="1">
          <p15:clr>
            <a:srgbClr val="A4A3A4"/>
          </p15:clr>
        </p15:guide>
        <p15:guide id="4" pos="2327" userDrawn="1">
          <p15:clr>
            <a:srgbClr val="A4A3A4"/>
          </p15:clr>
        </p15:guide>
        <p15:guide id="5" orient="horz" pos="2751" userDrawn="1">
          <p15:clr>
            <a:srgbClr val="A4A3A4"/>
          </p15:clr>
        </p15:guide>
        <p15:guide id="6" pos="2265" userDrawn="1">
          <p15:clr>
            <a:srgbClr val="A4A3A4"/>
          </p15:clr>
        </p15:guide>
        <p15:guide id="7" orient="horz" pos="2935" userDrawn="1">
          <p15:clr>
            <a:srgbClr val="A4A3A4"/>
          </p15:clr>
        </p15:guide>
        <p15:guide id="8" pos="2203" userDrawn="1">
          <p15:clr>
            <a:srgbClr val="A4A3A4"/>
          </p15:clr>
        </p15:guide>
        <p15:guide id="9" orient="horz" pos="3130" userDrawn="1">
          <p15:clr>
            <a:srgbClr val="A4A3A4"/>
          </p15:clr>
        </p15:guide>
        <p15:guide id="10" pos="2143" userDrawn="1">
          <p15:clr>
            <a:srgbClr val="A4A3A4"/>
          </p15:clr>
        </p15:guide>
        <p15:guide id="11" orient="horz" pos="313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9D83907-552D-DD77-BD8E-A455CDD97B0A}" name="Nicolas Tellechea" initials="NT" userId="S::ntellechea@teco.com.ar::0a571517-02c3-4dde-ad61-d31c1f6f5f46" providerId="AD"/>
  <p188:author id="{11F4F70B-5F9E-DB24-E21C-DD1D46B7B6E6}" name="Tomas Pellicori" initials="TP" userId="S::TLPellicori@teco.com.ar::a297f524-0002-4027-b492-85bf65afee20" providerId="AD"/>
  <p188:author id="{22017614-53C7-605F-6E0D-2C0103C50E00}" name="Luciano Zurlo" initials="" userId="S::LZurlo@teco.com.ar::646e0a9a-2460-419d-96f5-7ebd73bfc027" providerId="AD"/>
  <p188:author id="{FAF3146A-4CA3-1918-6879-2C051080003F}" name="Livio Gentile" initials="LG" userId="S::LAGentile@teco.com.ar::847257df-8cfb-4df1-985e-bb8efa39b4b1" providerId="AD"/>
  <p188:author id="{9DAAB1AE-53A1-96EF-E45C-28D9D07254DA}" name="Santiago Gramegna Vedani" initials="SGV" userId="S::SMGramegnaVedani@teco.com.ar::677bfa16-0215-48e4-b6ec-c2762dd0f3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olo Perfetti" initials="PP" lastIdx="2" clrIdx="0"/>
  <p:cmAuthor id="1" name="Nahuel Monsalvo" initials="NM" lastIdx="1" clrIdx="1">
    <p:extLst>
      <p:ext uri="{19B8F6BF-5375-455C-9EA6-DF929625EA0E}">
        <p15:presenceInfo xmlns:p15="http://schemas.microsoft.com/office/powerpoint/2012/main" userId="S::NMonsalvo@teco.com.ar::084a34c7-a3fe-4908-b9f4-4241612e7235" providerId="AD"/>
      </p:ext>
    </p:extLst>
  </p:cmAuthor>
  <p:cmAuthor id="2" name="Lucas Berges" initials="LB" lastIdx="1" clrIdx="2">
    <p:extLst>
      <p:ext uri="{19B8F6BF-5375-455C-9EA6-DF929625EA0E}">
        <p15:presenceInfo xmlns:p15="http://schemas.microsoft.com/office/powerpoint/2012/main" userId="S::LMBerges@teco.com.ar::684bc9f5-97f3-4358-9d40-860dd4aea1bf" providerId="AD"/>
      </p:ext>
    </p:extLst>
  </p:cmAuthor>
  <p:cmAuthor id="3" name="Tomas Pellicori" initials="TP" lastIdx="9" clrIdx="3">
    <p:extLst>
      <p:ext uri="{19B8F6BF-5375-455C-9EA6-DF929625EA0E}">
        <p15:presenceInfo xmlns:p15="http://schemas.microsoft.com/office/powerpoint/2012/main" userId="S::TLPellicori@teco.com.ar::a297f524-0002-4027-b492-85bf65afee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5CF3"/>
    <a:srgbClr val="01B7EC"/>
    <a:srgbClr val="ACCB32"/>
    <a:srgbClr val="787878"/>
    <a:srgbClr val="35AEC7"/>
    <a:srgbClr val="FE5756"/>
    <a:srgbClr val="919191"/>
    <a:srgbClr val="206877"/>
    <a:srgbClr val="9E3D9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Estilo temático 2 - Énfasis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Estilo oscuro 1 - Énfasis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12"/>
    <p:restoredTop sz="94689"/>
  </p:normalViewPr>
  <p:slideViewPr>
    <p:cSldViewPr snapToGrid="0">
      <p:cViewPr varScale="1">
        <p:scale>
          <a:sx n="360" d="100"/>
          <a:sy n="360" d="100"/>
        </p:scale>
        <p:origin x="312" y="176"/>
      </p:cViewPr>
      <p:guideLst>
        <p:guide pos="415"/>
        <p:guide pos="385"/>
        <p:guide orient="horz" pos="1490"/>
        <p:guide orient="horz" pos="529"/>
        <p:guide pos="887"/>
        <p:guide pos="4044"/>
        <p:guide pos="1106"/>
        <p:guide orient="horz" pos="3229"/>
        <p:guide orient="horz" pos="23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416"/>
        <p:guide pos="2392"/>
        <p:guide orient="horz" pos="2578"/>
        <p:guide pos="2327"/>
        <p:guide orient="horz" pos="2751"/>
        <p:guide pos="2265"/>
        <p:guide orient="horz" pos="2935"/>
        <p:guide pos="2203"/>
        <p:guide orient="horz" pos="3130"/>
        <p:guide pos="2143"/>
        <p:guide orient="horz"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A4-3A45-862E-9D1D65B93495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CA4-3A45-862E-9D1D65B9349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A4-3A45-862E-9D1D65B93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F8-794E-9566-E85561449F57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6F8-794E-9566-E85561449F5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1</c:v>
                </c:pt>
                <c:pt idx="1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F8-794E-9566-E85561449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8</c:v>
                </c:pt>
                <c:pt idx="1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6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8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259-254D-94A5-7B9FCD8434AC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259-254D-94A5-7B9FCD8434A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59-254D-94A5-7B9FCD843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DD1-134E-888F-73F50F002CCE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DD1-134E-888F-73F50F002CCE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D1-134E-888F-73F50F002C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F68-964C-9BE8-DE166454837C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F68-964C-9BE8-DE166454837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F68-964C-9BE8-DE16645483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8" y="41"/>
            <a:ext cx="2960707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ctr" anchorCtr="0" compatLnSpc="1">
            <a:prstTxWarp prst="textNoShape">
              <a:avLst/>
            </a:prstTxWarp>
          </a:bodyPr>
          <a:lstStyle>
            <a:lvl1pPr algn="l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7160" y="41"/>
            <a:ext cx="2878095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ctr" anchorCtr="0" compatLnSpc="1">
            <a:prstTxWarp prst="textNoShape">
              <a:avLst/>
            </a:prstTxWarp>
          </a:bodyPr>
          <a:lstStyle>
            <a:lvl1pPr algn="r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8" y="9465344"/>
            <a:ext cx="2960707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b" anchorCtr="0" compatLnSpc="1">
            <a:prstTxWarp prst="textNoShape">
              <a:avLst/>
            </a:prstTxWarp>
          </a:bodyPr>
          <a:lstStyle>
            <a:lvl1pPr algn="l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7160" y="9465344"/>
            <a:ext cx="2878095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b" anchorCtr="0" compatLnSpc="1">
            <a:prstTxWarp prst="textNoShape">
              <a:avLst/>
            </a:prstTxWarp>
          </a:bodyPr>
          <a:lstStyle>
            <a:lvl1pPr algn="r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fld id="{4E51EE3C-FCBC-4E91-BE74-B84018B5BE9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777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7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>
            <a:lvl1pPr algn="l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674" y="37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>
            <a:lvl1pPr algn="r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2713" y="742950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0434" tIns="45217" rIns="90434" bIns="45217"/>
          <a:lstStyle/>
          <a:p>
            <a:endParaRPr lang="es-ES_tradnl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777" y="4708038"/>
            <a:ext cx="4986141" cy="4476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35791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b" anchorCtr="0" compatLnSpc="1">
            <a:prstTxWarp prst="textNoShape">
              <a:avLst/>
            </a:prstTxWarp>
          </a:bodyPr>
          <a:lstStyle>
            <a:lvl1pPr algn="l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674" y="9435791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b" anchorCtr="0" compatLnSpc="1">
            <a:prstTxWarp prst="textNoShape">
              <a:avLst/>
            </a:prstTxWarp>
          </a:bodyPr>
          <a:lstStyle>
            <a:lvl1pPr algn="r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8028F805-8009-40C2-86B0-C5BB0D4B0CE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9435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33308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666615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999921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333229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1666534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1999842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33150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666456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13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61A4E-B3F0-473C-B10D-ADE3BF2B21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00A4CA1-F67A-2C20-A84C-35D07129FB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DB7CD45-0949-1D13-5926-78CA685BF6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8EDEB3F-BB0E-502C-6CD9-3EB9E0F940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5245E-479D-4B19-9EED-492E9B52A969}" type="slidenum">
              <a:rPr lang="es-AR" smtClean="0"/>
              <a:t>2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08081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4D518-BA22-F962-4E15-A70BB2657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52C4D3B-1481-1517-3F6D-41DD6FCDED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F9113B2-44BC-B6A2-834F-B4155EB710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2747FF5-AA44-57C1-0A10-969695D8C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199870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956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FD33F9-61D3-718E-2732-B1179041A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9E48152-3886-C5E6-195A-EC0DEE7348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5802CAE-BDBE-52CA-BD2A-D1A12D83E3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434EEBC-A165-35CC-A497-562507A7B3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791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4D848E-C6D5-7F07-6C54-9FA7F040E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FF8C417-BD43-00F0-4D90-8F435FF172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F78A466-2718-FA52-CFE5-9C3D130186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E445683-9A9C-B1D6-569A-931B74E8E8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61990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300D7-B93C-BB83-C139-C2F055EBE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16321F3-986F-BCA2-7A7B-5D46135DCE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4813" y="1230313"/>
            <a:ext cx="5895975" cy="3317875"/>
          </a:xfrm>
        </p:spPr>
        <p:txBody>
          <a:bodyPr/>
          <a:lstStyle/>
          <a:p>
            <a:endParaRPr lang="es-AR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AB20701-DB62-AF49-D717-BAF07444EE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3BADED6-1072-6308-05CF-BC6133234B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26C28A9-686A-4831-B2B2-513426A58C1C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8716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54864-09ED-1723-3FBB-0ACB63E13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2661394-C0E3-4D56-AF67-68A08857A7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3BF0EC8-2469-3AF0-CCC9-ED0DAADAB5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B2D9189-EB20-9206-DA67-86F5CFD25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2745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E7E93C-3A4C-16B0-FB63-C164FC9B63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D8E2636-79D1-2B07-F357-2BEC856E59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2243138-F06A-2118-6FC6-F08BAFF8F6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68F535E-F40A-6C6C-F212-266D6AD806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441557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4D518-BA22-F962-4E15-A70BB2657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52C4D3B-1481-1517-3F6D-41DD6FCDED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F9113B2-44BC-B6A2-834F-B4155EB710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2747FF5-AA44-57C1-0A10-969695D8C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39600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D698B-E90F-8F9C-4BB1-8D4F05E4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A0D9680-68D0-C7F0-E4CE-58A62BC0CF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7EF5B3E-B3C3-8BD6-D2AE-A5CA8650CC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565140-D9C1-CA0A-08EF-C34CD744AB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19802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CFDBA-185C-6FE6-80D3-395314B67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8F21E4C-5046-C3C7-4F9F-7CCE2E285E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6076502-E5B8-199A-2C14-0A045E423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C2478CB-C7E9-A7F7-6E49-31A507D86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E2375-F1B1-284C-A827-B0E603FDBDD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481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636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7" name="Slide Number Placeholder 24">
            <a:extLst>
              <a:ext uri="{FF2B5EF4-FFF2-40B4-BE49-F238E27FC236}">
                <a16:creationId xmlns:a16="http://schemas.microsoft.com/office/drawing/2014/main" id="{21EAABD4-BCB3-E400-7E9D-6612C443A91E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7AA8A4DA-7EA8-8DD1-F7C7-9399D018587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o 11">
            <a:extLst>
              <a:ext uri="{FF2B5EF4-FFF2-40B4-BE49-F238E27FC236}">
                <a16:creationId xmlns:a16="http://schemas.microsoft.com/office/drawing/2014/main" id="{03B92137-37ED-44DA-2E73-316C9D368F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9BC08437-C59E-0E3A-83C5-971A30D329AA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594D607A-FB58-C57D-CD97-4CC9B3B7C9BE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dondear rectángulo de esquina del mismo lado 22">
            <a:extLst>
              <a:ext uri="{FF2B5EF4-FFF2-40B4-BE49-F238E27FC236}">
                <a16:creationId xmlns:a16="http://schemas.microsoft.com/office/drawing/2014/main" id="{49B93D7F-9275-B3A2-B4E9-FE34DE1C7438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F96F5AA4-32D1-8AEA-08D4-4B1D71FAAD15}"/>
              </a:ext>
            </a:extLst>
          </p:cNvPr>
          <p:cNvSpPr/>
          <p:nvPr userDrawn="1"/>
        </p:nvSpPr>
        <p:spPr>
          <a:xfrm>
            <a:off x="2054866" y="177003"/>
            <a:ext cx="40709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Sección A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BC4CA0A7-2A73-D2DA-F90D-1BA2B2084637}"/>
              </a:ext>
            </a:extLst>
          </p:cNvPr>
          <p:cNvSpPr/>
          <p:nvPr userDrawn="1"/>
        </p:nvSpPr>
        <p:spPr>
          <a:xfrm>
            <a:off x="611999" y="166052"/>
            <a:ext cx="71019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1</a:t>
            </a:r>
          </a:p>
        </p:txBody>
      </p:sp>
    </p:spTree>
    <p:extLst>
      <p:ext uri="{BB962C8B-B14F-4D97-AF65-F5344CB8AC3E}">
        <p14:creationId xmlns:p14="http://schemas.microsoft.com/office/powerpoint/2010/main" val="2588616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6">
    <p:bg>
      <p:bgPr>
        <a:gradFill flip="none" rotWithShape="1">
          <a:gsLst>
            <a:gs pos="0">
              <a:schemeClr val="accent4">
                <a:lumMod val="40000"/>
                <a:lumOff val="60000"/>
              </a:schemeClr>
            </a:gs>
            <a:gs pos="100000">
              <a:schemeClr val="bg2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1DD54007-055B-9C94-96FD-9D23ADC66E3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34" name="Rectángulo 61">
              <a:extLst>
                <a:ext uri="{FF2B5EF4-FFF2-40B4-BE49-F238E27FC236}">
                  <a16:creationId xmlns:a16="http://schemas.microsoft.com/office/drawing/2014/main" id="{F80B6DCD-9BAF-58C4-1490-7AFEF3A0ED56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rgbClr val="FFFFFF"/>
                </a:solidFill>
              </a:endParaRPr>
            </a:p>
          </p:txBody>
        </p:sp>
        <p:cxnSp>
          <p:nvCxnSpPr>
            <p:cNvPr id="35" name="Conector recto 34">
              <a:extLst>
                <a:ext uri="{FF2B5EF4-FFF2-40B4-BE49-F238E27FC236}">
                  <a16:creationId xmlns:a16="http://schemas.microsoft.com/office/drawing/2014/main" id="{16180FCD-5D21-752F-852D-BBD61342AC27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dondear rectángulo de esquina del mismo lado 2">
            <a:extLst>
              <a:ext uri="{FF2B5EF4-FFF2-40B4-BE49-F238E27FC236}">
                <a16:creationId xmlns:a16="http://schemas.microsoft.com/office/drawing/2014/main" id="{325698EA-5DCB-042B-C3AC-6ED73F2982E5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D1D843A6-A904-2314-FE9D-F85F003050CA}"/>
              </a:ext>
            </a:extLst>
          </p:cNvPr>
          <p:cNvSpPr/>
          <p:nvPr userDrawn="1"/>
        </p:nvSpPr>
        <p:spPr>
          <a:xfrm>
            <a:off x="2054866" y="177003"/>
            <a:ext cx="40709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" pitchFamily="2" charset="0"/>
                <a:ea typeface="Inter Light BETA" panose="020B0402030000000004" pitchFamily="34" charset="0"/>
              </a:rPr>
              <a:t>Sección 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A7DE0700-2A94-D423-940C-B73ECD9878C3}"/>
              </a:ext>
            </a:extLst>
          </p:cNvPr>
          <p:cNvSpPr/>
          <p:nvPr userDrawn="1"/>
        </p:nvSpPr>
        <p:spPr>
          <a:xfrm>
            <a:off x="611999" y="166052"/>
            <a:ext cx="71019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1</a:t>
            </a:r>
          </a:p>
        </p:txBody>
      </p:sp>
    </p:spTree>
    <p:extLst>
      <p:ext uri="{BB962C8B-B14F-4D97-AF65-F5344CB8AC3E}">
        <p14:creationId xmlns:p14="http://schemas.microsoft.com/office/powerpoint/2010/main" val="3164218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:a16="http://schemas.microsoft.com/office/drawing/2014/main" id="{EA3D37E0-C1B3-65BD-0E82-4C10C2CEA0FE}"/>
              </a:ext>
            </a:extLst>
          </p:cNvPr>
          <p:cNvSpPr/>
          <p:nvPr userDrawn="1"/>
        </p:nvSpPr>
        <p:spPr>
          <a:xfrm>
            <a:off x="2054866" y="177003"/>
            <a:ext cx="400687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Sección B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5EE978BB-D79F-4644-6921-93CD317BC37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2" name="Rectángulo 61">
              <a:extLst>
                <a:ext uri="{FF2B5EF4-FFF2-40B4-BE49-F238E27FC236}">
                  <a16:creationId xmlns:a16="http://schemas.microsoft.com/office/drawing/2014/main" id="{F8BCD30B-ED4F-E0B8-6649-7D921DE2D0EB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FCBD96BF-ADE7-A46E-9377-32EDCF1AC9DF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0B335FA-E0E2-A26B-1E4F-AB735F453F66}"/>
              </a:ext>
            </a:extLst>
          </p:cNvPr>
          <p:cNvSpPr/>
          <p:nvPr userDrawn="1"/>
        </p:nvSpPr>
        <p:spPr>
          <a:xfrm>
            <a:off x="611999" y="166052"/>
            <a:ext cx="71019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1</a:t>
            </a:r>
          </a:p>
        </p:txBody>
      </p:sp>
      <p:sp>
        <p:nvSpPr>
          <p:cNvPr id="15" name="Redondear rectángulo de esquina del mismo lado 14">
            <a:extLst>
              <a:ext uri="{FF2B5EF4-FFF2-40B4-BE49-F238E27FC236}">
                <a16:creationId xmlns:a16="http://schemas.microsoft.com/office/drawing/2014/main" id="{F73AB85A-EC2C-AEDA-5940-6515FAE91047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74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52055716-00B5-959E-D950-F205E5A7BBE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E202809-39C9-7472-AE16-41ACB51BA0F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37859397-53DC-0C86-0AC8-FB2ECEAE2DB3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480035E5-7D1C-8E2C-A4AE-C424596A4DAD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2</a:t>
            </a:r>
          </a:p>
        </p:txBody>
      </p:sp>
    </p:spTree>
    <p:extLst>
      <p:ext uri="{BB962C8B-B14F-4D97-AF65-F5344CB8AC3E}">
        <p14:creationId xmlns:p14="http://schemas.microsoft.com/office/powerpoint/2010/main" val="201041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F37408A7-7187-D6DD-C5A6-10E68963FD36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12A1D095-C29C-45B4-F68F-FFB7FFED0C07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2</a:t>
            </a:r>
          </a:p>
        </p:txBody>
      </p:sp>
    </p:spTree>
    <p:extLst>
      <p:ext uri="{BB962C8B-B14F-4D97-AF65-F5344CB8AC3E}">
        <p14:creationId xmlns:p14="http://schemas.microsoft.com/office/powerpoint/2010/main" val="272229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52055716-00B5-959E-D950-F205E5A7BBE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E202809-39C9-7472-AE16-41ACB51BA0F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dondear rectángulo de esquina del mismo lado 2">
            <a:extLst>
              <a:ext uri="{FF2B5EF4-FFF2-40B4-BE49-F238E27FC236}">
                <a16:creationId xmlns:a16="http://schemas.microsoft.com/office/drawing/2014/main" id="{53FB64C7-29B5-76C7-43AF-14B48FF66023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345A248E-AF3F-58C2-6F37-FE294E5A821B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2</a:t>
            </a:r>
          </a:p>
        </p:txBody>
      </p:sp>
    </p:spTree>
    <p:extLst>
      <p:ext uri="{BB962C8B-B14F-4D97-AF65-F5344CB8AC3E}">
        <p14:creationId xmlns:p14="http://schemas.microsoft.com/office/powerpoint/2010/main" val="215213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04BBA696-489D-A9D4-4F68-635690E4D175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58839976-931E-0869-3F97-607F13828135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424AA2C-1EC8-69C5-FD20-30B50597EA7F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C7881804-72AF-E737-C6A8-27F0AFC4B59F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8D5A266A-F4C2-B618-8BA0-1BD22E67D039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49DF654B-6314-5490-4DD1-EC76F22814EB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E234661-B1B1-2526-9341-2D84FF576CFF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8906D266-245A-2E41-CBAB-DAB011B6B44E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6BD84086-73BA-1C4E-D3F2-89D43DFB65E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364814AA-2F53-1FAA-B6C5-73DEBB854DA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8" name="Rectángulo 37">
            <a:extLst>
              <a:ext uri="{FF2B5EF4-FFF2-40B4-BE49-F238E27FC236}">
                <a16:creationId xmlns:a16="http://schemas.microsoft.com/office/drawing/2014/main" id="{6DB00B48-6961-4B2B-C6BE-E4704BCB8673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Redondear rectángulo de esquina del mismo lado 1">
            <a:extLst>
              <a:ext uri="{FF2B5EF4-FFF2-40B4-BE49-F238E27FC236}">
                <a16:creationId xmlns:a16="http://schemas.microsoft.com/office/drawing/2014/main" id="{F601E38D-32B2-743F-761E-F4837982DB54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EAB31AC-4141-EF6C-18EB-7BB957CFA736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124167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BB273E21-4347-D29E-C3E7-29C0DC5115BA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704D3A7-EAB6-FCE2-CC97-F507ED537F1E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4234484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46E1AD97-CA51-2798-153A-1F10BA6944BA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4A340267-401D-AA43-3627-D0FAFD347920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4093902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dondear rectángulo de esquina del mismo lado 18">
            <a:extLst>
              <a:ext uri="{FF2B5EF4-FFF2-40B4-BE49-F238E27FC236}">
                <a16:creationId xmlns:a16="http://schemas.microsoft.com/office/drawing/2014/main" id="{E70F175B-5A9A-9E8D-4578-AF7A514E9B30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F013FC0-3896-E190-2F36-0D52C106BD36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4754C3B-5DB9-694B-13F9-3B751D9428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23" name="Rectángulo 61">
              <a:extLst>
                <a:ext uri="{FF2B5EF4-FFF2-40B4-BE49-F238E27FC236}">
                  <a16:creationId xmlns:a16="http://schemas.microsoft.com/office/drawing/2014/main" id="{6B7883AF-B2A9-4FF8-0053-0C4C697ECC5F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5D7BD478-8B5C-D4E1-81B3-BC51732B01E8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ángulo 28">
            <a:extLst>
              <a:ext uri="{FF2B5EF4-FFF2-40B4-BE49-F238E27FC236}">
                <a16:creationId xmlns:a16="http://schemas.microsoft.com/office/drawing/2014/main" id="{7EFAABB5-EECC-4980-B5C5-BAC3866B8EE8}"/>
              </a:ext>
            </a:extLst>
          </p:cNvPr>
          <p:cNvSpPr/>
          <p:nvPr userDrawn="1"/>
        </p:nvSpPr>
        <p:spPr>
          <a:xfrm>
            <a:off x="2073582" y="127925"/>
            <a:ext cx="687752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ítulo simulad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sección especial</a:t>
            </a:r>
          </a:p>
        </p:txBody>
      </p:sp>
    </p:spTree>
    <p:extLst>
      <p:ext uri="{BB962C8B-B14F-4D97-AF65-F5344CB8AC3E}">
        <p14:creationId xmlns:p14="http://schemas.microsoft.com/office/powerpoint/2010/main" val="68411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E2670C61-DA95-C71D-2FDE-59F5666FFE5F}"/>
              </a:ext>
            </a:extLst>
          </p:cNvPr>
          <p:cNvSpPr/>
          <p:nvPr userDrawn="1"/>
        </p:nvSpPr>
        <p:spPr>
          <a:xfrm>
            <a:off x="0" y="0"/>
            <a:ext cx="9143999" cy="1513936"/>
          </a:xfrm>
          <a:prstGeom prst="rect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99000">
                <a:srgbClr val="000000"/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8936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FFD75A46-41C1-78A9-EB24-6FE9D310452C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D713E3F-F3C6-F63F-F80C-6BB251F70F3E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2A77B8E2-A0D2-8E7D-3FE3-89094A85ABC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3" name="Rectángulo 61">
              <a:extLst>
                <a:ext uri="{FF2B5EF4-FFF2-40B4-BE49-F238E27FC236}">
                  <a16:creationId xmlns:a16="http://schemas.microsoft.com/office/drawing/2014/main" id="{1E6D8CB1-31AE-0E60-93CF-ECFA8361D98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6B2A2297-87FC-EEAE-12B9-188B944CA63C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62F784C3-622F-DF1E-82CF-74A229E6A0EE}"/>
              </a:ext>
            </a:extLst>
          </p:cNvPr>
          <p:cNvSpPr/>
          <p:nvPr userDrawn="1"/>
        </p:nvSpPr>
        <p:spPr>
          <a:xfrm>
            <a:off x="2073582" y="127925"/>
            <a:ext cx="687752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ítulo simulad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sección especial</a:t>
            </a:r>
          </a:p>
        </p:txBody>
      </p:sp>
    </p:spTree>
    <p:extLst>
      <p:ext uri="{BB962C8B-B14F-4D97-AF65-F5344CB8AC3E}">
        <p14:creationId xmlns:p14="http://schemas.microsoft.com/office/powerpoint/2010/main" val="3947385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A49CFADE-F4BB-C444-6A77-6C1146D61726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0A2F0B8-F08C-6877-4EB1-4FC796E7193D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B70381AD-C1B7-95E7-A44D-15A1C16FBC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3" name="Rectángulo 61">
              <a:extLst>
                <a:ext uri="{FF2B5EF4-FFF2-40B4-BE49-F238E27FC236}">
                  <a16:creationId xmlns:a16="http://schemas.microsoft.com/office/drawing/2014/main" id="{D1DEFFAB-1C9C-92AB-470B-31232BB7F53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39B5CB26-F0A7-1289-3E30-D03DE37A0B28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74900EC-1B13-B0A2-CBB8-CA0A89C8341A}"/>
              </a:ext>
            </a:extLst>
          </p:cNvPr>
          <p:cNvSpPr/>
          <p:nvPr userDrawn="1"/>
        </p:nvSpPr>
        <p:spPr>
          <a:xfrm>
            <a:off x="2073582" y="127925"/>
            <a:ext cx="687752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ítulo simulad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sección especial</a:t>
            </a:r>
          </a:p>
        </p:txBody>
      </p:sp>
    </p:spTree>
    <p:extLst>
      <p:ext uri="{BB962C8B-B14F-4D97-AF65-F5344CB8AC3E}">
        <p14:creationId xmlns:p14="http://schemas.microsoft.com/office/powerpoint/2010/main" val="2067915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7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chemeClr val="bg1">
              <a:lumMod val="10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17" name="Slide Number Placeholder 24">
            <a:extLst>
              <a:ext uri="{FF2B5EF4-FFF2-40B4-BE49-F238E27FC236}">
                <a16:creationId xmlns:a16="http://schemas.microsoft.com/office/drawing/2014/main" id="{3FD8D1F3-A83B-BCEE-C8A3-90965A7DDEA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lumMod val="7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bg1">
                  <a:lumMod val="7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67827E66-CE89-ECA7-F72E-5B998D44E9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dondear rectángulo de esquina del mismo lado 18">
            <a:extLst>
              <a:ext uri="{FF2B5EF4-FFF2-40B4-BE49-F238E27FC236}">
                <a16:creationId xmlns:a16="http://schemas.microsoft.com/office/drawing/2014/main" id="{6145F54A-549D-953B-2D45-29C54721DF9F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181EB90-6087-74BC-8E91-4D6A8537B4C5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472729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dondear rectángulo de esquina del mismo lado 13">
            <a:extLst>
              <a:ext uri="{FF2B5EF4-FFF2-40B4-BE49-F238E27FC236}">
                <a16:creationId xmlns:a16="http://schemas.microsoft.com/office/drawing/2014/main" id="{EFA90EC6-7C0C-4A24-80D8-EFFE5DAC0ECE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E60F832-B21D-8259-AFF0-A18630B89A5A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68B59D6A-5D59-09B0-2D48-2F033CE3B4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7" name="Rectángulo 61">
              <a:extLst>
                <a:ext uri="{FF2B5EF4-FFF2-40B4-BE49-F238E27FC236}">
                  <a16:creationId xmlns:a16="http://schemas.microsoft.com/office/drawing/2014/main" id="{93A933D5-92BA-F8F4-1984-F656A0986A9D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B80A9BB-189B-7937-D3AB-60026109C041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ángulo 27">
            <a:extLst>
              <a:ext uri="{FF2B5EF4-FFF2-40B4-BE49-F238E27FC236}">
                <a16:creationId xmlns:a16="http://schemas.microsoft.com/office/drawing/2014/main" id="{893974BE-3E6B-24FA-7EB2-E1E4ADD5330B}"/>
              </a:ext>
            </a:extLst>
          </p:cNvPr>
          <p:cNvSpPr/>
          <p:nvPr userDrawn="1"/>
        </p:nvSpPr>
        <p:spPr>
          <a:xfrm>
            <a:off x="2073582" y="127925"/>
            <a:ext cx="687752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ítulo simulad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sección especial</a:t>
            </a:r>
          </a:p>
        </p:txBody>
      </p:sp>
    </p:spTree>
    <p:extLst>
      <p:ext uri="{BB962C8B-B14F-4D97-AF65-F5344CB8AC3E}">
        <p14:creationId xmlns:p14="http://schemas.microsoft.com/office/powerpoint/2010/main" val="996669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6B0E9FA1-E974-3C66-08EA-B27F8E0FC4C7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E35E0E15-8B93-8950-CF0E-2C13CE55AC7F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DA0CE6D3-2F52-FAF0-429E-CB3E0F67AC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28" name="Rectángulo 61">
              <a:extLst>
                <a:ext uri="{FF2B5EF4-FFF2-40B4-BE49-F238E27FC236}">
                  <a16:creationId xmlns:a16="http://schemas.microsoft.com/office/drawing/2014/main" id="{B8777ABD-A2DF-A766-5E9E-680E79FC2386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A4DD130F-2381-AB37-2AB7-DDDD61BAA8B5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1CA8F764-4B68-52F4-1E67-C37E9CA6ABF0}"/>
              </a:ext>
            </a:extLst>
          </p:cNvPr>
          <p:cNvSpPr/>
          <p:nvPr userDrawn="1"/>
        </p:nvSpPr>
        <p:spPr>
          <a:xfrm>
            <a:off x="2073582" y="127925"/>
            <a:ext cx="687752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ítulo simulad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sección especial</a:t>
            </a:r>
          </a:p>
        </p:txBody>
      </p:sp>
    </p:spTree>
    <p:extLst>
      <p:ext uri="{BB962C8B-B14F-4D97-AF65-F5344CB8AC3E}">
        <p14:creationId xmlns:p14="http://schemas.microsoft.com/office/powerpoint/2010/main" val="1162512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0">
    <p:bg>
      <p:bgPr>
        <a:gradFill flip="none" rotWithShape="1">
          <a:gsLst>
            <a:gs pos="0">
              <a:schemeClr val="bg2"/>
            </a:gs>
            <a:gs pos="100000">
              <a:schemeClr val="tx2">
                <a:lumMod val="75000"/>
                <a:lumOff val="25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4" name="Redondear rectángulo de esquina del mismo lado 3">
            <a:extLst>
              <a:ext uri="{FF2B5EF4-FFF2-40B4-BE49-F238E27FC236}">
                <a16:creationId xmlns:a16="http://schemas.microsoft.com/office/drawing/2014/main" id="{770C3D77-6F14-F054-4669-1BFDFCD95E78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2BCE0EAB-0215-2F8A-BB7B-250AD8DA7FFE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3707470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1">
    <p:bg>
      <p:bgPr>
        <a:gradFill flip="none" rotWithShape="1">
          <a:gsLst>
            <a:gs pos="0">
              <a:schemeClr val="tx2">
                <a:lumMod val="75000"/>
                <a:lumOff val="25000"/>
              </a:schemeClr>
            </a:gs>
            <a:gs pos="100000">
              <a:schemeClr val="tx2"/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4" name="Redondear rectángulo de esquina del mismo lado 3">
            <a:extLst>
              <a:ext uri="{FF2B5EF4-FFF2-40B4-BE49-F238E27FC236}">
                <a16:creationId xmlns:a16="http://schemas.microsoft.com/office/drawing/2014/main" id="{8D0DE5B7-4EDB-6F6A-C815-A5E38C7463C9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E272E4CF-81C2-E635-9298-059FC6E94861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912927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dondear rectángulo de esquina del mismo lado 16">
            <a:extLst>
              <a:ext uri="{FF2B5EF4-FFF2-40B4-BE49-F238E27FC236}">
                <a16:creationId xmlns:a16="http://schemas.microsoft.com/office/drawing/2014/main" id="{CE3E694B-1BFB-51B4-6099-A51CA1F25BA3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D32A0B8A-CF9C-E68F-5665-2339079D7F4A}"/>
              </a:ext>
            </a:extLst>
          </p:cNvPr>
          <p:cNvSpPr/>
          <p:nvPr userDrawn="1"/>
        </p:nvSpPr>
        <p:spPr>
          <a:xfrm>
            <a:off x="604785" y="166052"/>
            <a:ext cx="724622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3</a:t>
            </a:r>
          </a:p>
        </p:txBody>
      </p:sp>
    </p:spTree>
    <p:extLst>
      <p:ext uri="{BB962C8B-B14F-4D97-AF65-F5344CB8AC3E}">
        <p14:creationId xmlns:p14="http://schemas.microsoft.com/office/powerpoint/2010/main" val="193197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1A44D3F-5349-B413-1045-52339CE24229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01CFC352-F5C9-59D7-0DCD-CC46A8A76C75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6" name="Gráfico 3">
            <a:extLst>
              <a:ext uri="{FF2B5EF4-FFF2-40B4-BE49-F238E27FC236}">
                <a16:creationId xmlns:a16="http://schemas.microsoft.com/office/drawing/2014/main" id="{661103A8-AAFE-CC0C-F300-6B5395FCF641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5A15FEF5-2A2D-4FA1-A195-F6DF2E0B66B3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E4F34473-AA5D-E3DC-BF85-7785ADFDD67D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BC7C0227-AE92-60D6-C651-8C2A83C273C3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4CBD66BF-BC0D-C1EE-5E1D-7618C608E78D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03916C68-0437-5662-23C8-6ECD9B842456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5767E712-B754-12CF-3332-9E0F37DB7056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A05F805B-934F-DA30-EE8D-6E20DF017B3B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43359977-D5DA-9F4D-9BBD-EF9DC4CF1792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C0C9ADFB-A48D-449D-1E8E-0703A0B11B5D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5E538870-06B1-DA73-76F1-515A90C79891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B8F3F3F-07DF-4808-4872-89C24FE48A9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478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>
            <a:extLst>
              <a:ext uri="{FF2B5EF4-FFF2-40B4-BE49-F238E27FC236}">
                <a16:creationId xmlns:a16="http://schemas.microsoft.com/office/drawing/2014/main" id="{5ADF1828-321E-3C2F-CE7A-8BE64C2E0E7E}"/>
              </a:ext>
            </a:extLst>
          </p:cNvPr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gradFill>
            <a:gsLst>
              <a:gs pos="50000">
                <a:schemeClr val="bg2">
                  <a:alpha val="10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737799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15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CA5949C0-872A-B686-65CD-80222FED2FD3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id="{D3CDD53A-78FA-EDC5-6A21-DE62D318A6E7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1" name="Gráfico 3">
            <a:extLst>
              <a:ext uri="{FF2B5EF4-FFF2-40B4-BE49-F238E27FC236}">
                <a16:creationId xmlns:a16="http://schemas.microsoft.com/office/drawing/2014/main" id="{C090A074-0391-2C58-FE34-2B1E310E763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5770D06F-0B56-690B-FC5A-73601854F30C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A38CADFD-CD99-EC83-3C1F-B96A2FEB195A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10F62923-0723-23D7-1A8F-B27FBC89712E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4FE84405-13C0-959D-FADD-F0545CA1AFEB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115C6448-6B11-61A0-CC14-C287720F001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EE41398-91C7-3C6D-58B1-D4347FFC0DBC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4C1C7768-9738-01F2-040D-FD837FE0A1B3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544B4DF1-88C4-EFF6-605B-D10608EE4AB9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FF4F9E9-AB93-BCEC-34BE-D85F3C10EDB6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070D0E5-FE07-14D5-7793-E3032D8A43FA}"/>
              </a:ext>
            </a:extLst>
          </p:cNvPr>
          <p:cNvSpPr/>
          <p:nvPr userDrawn="1"/>
        </p:nvSpPr>
        <p:spPr>
          <a:xfrm rot="10800000" flipV="1">
            <a:off x="0" y="-1621"/>
            <a:ext cx="9144000" cy="505120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18" name="Slide Number Placeholder 24">
            <a:extLst>
              <a:ext uri="{FF2B5EF4-FFF2-40B4-BE49-F238E27FC236}">
                <a16:creationId xmlns:a16="http://schemas.microsoft.com/office/drawing/2014/main" id="{DFAC4515-A30A-EDF6-6DA1-801679BA532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AD5D7CC-3248-0FB4-F9E6-10F0C9F0364D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107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6">
    <p:bg>
      <p:bgPr>
        <a:gradFill flip="none" rotWithShape="1">
          <a:gsLst>
            <a:gs pos="0">
              <a:schemeClr val="tx2">
                <a:lumMod val="75000"/>
                <a:lumOff val="25000"/>
              </a:schemeClr>
            </a:gs>
            <a:gs pos="100000">
              <a:schemeClr val="tx2"/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D79F3B00-BE12-953D-0A38-09EF21279BA6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06374FC1-2F7D-644E-E00C-A25EF4D46512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2998748E-01EB-18DE-56C3-7576102BCCCD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63B1D255-AAF7-925E-727A-7869DE73D35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A142608D-3758-4E30-D4DA-11D80FC528D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AEE41704-BD00-8FC0-C657-AF50C651F4B6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257CD2C9-ED3E-EF0F-AC5B-9D8E7BA64918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AFA6BEFD-B364-817A-7DFA-F3BC7ED2E5BB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2B216E36-9F90-882B-75A1-F17959B169C5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FD1EAA4E-B622-740A-FB34-3AC92A223B7E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66133B2E-7F68-ADA3-19B8-E23DF5C0CB69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40" name="Rectángulo 39">
            <a:extLst>
              <a:ext uri="{FF2B5EF4-FFF2-40B4-BE49-F238E27FC236}">
                <a16:creationId xmlns:a16="http://schemas.microsoft.com/office/drawing/2014/main" id="{8FEBC54C-F9C4-67F3-1AB4-B49F3F93AC61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43" name="Slide Number Placeholder 24">
            <a:extLst>
              <a:ext uri="{FF2B5EF4-FFF2-40B4-BE49-F238E27FC236}">
                <a16:creationId xmlns:a16="http://schemas.microsoft.com/office/drawing/2014/main" id="{121B2EA0-1265-7923-B787-DFBC18617498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5EFFA468-794F-88B3-1E41-7716F04EBAC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7233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7">
    <p:bg>
      <p:bgPr>
        <a:gradFill flip="none" rotWithShape="1">
          <a:gsLst>
            <a:gs pos="0">
              <a:schemeClr val="accent4">
                <a:lumMod val="40000"/>
                <a:lumOff val="60000"/>
              </a:schemeClr>
            </a:gs>
            <a:gs pos="100000">
              <a:schemeClr val="bg2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6510D2E9-8859-183B-82E4-005CA519BBB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8089C316-87AE-E267-D065-A30F16FBCAE8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8" name="Gráfico 3">
            <a:extLst>
              <a:ext uri="{FF2B5EF4-FFF2-40B4-BE49-F238E27FC236}">
                <a16:creationId xmlns:a16="http://schemas.microsoft.com/office/drawing/2014/main" id="{26013EB8-CD41-D21D-D109-D331C90056C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44DF2949-1A28-2317-765E-26AF2860BD59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2FAB7EBA-5847-F207-7DCE-3D0FC9E8EC3E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63773407-15D0-6C3D-8756-3E201524A98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ECB438AC-AEE1-6D83-2E2B-3DFC2BC025C4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D00F3F0-ACC0-D097-4443-367793A7231F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6886CC02-D418-B7EB-7585-FC92263FBC63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11123247-E94C-C8C7-188E-8374D4DF30C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A8F075C8-E2E1-F71C-1F21-75DA6C4625B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DFEBB17-B89D-E3B6-EEC3-318B8C0E7FDC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42" name="Slide Number Placeholder 24">
            <a:extLst>
              <a:ext uri="{FF2B5EF4-FFF2-40B4-BE49-F238E27FC236}">
                <a16:creationId xmlns:a16="http://schemas.microsoft.com/office/drawing/2014/main" id="{21B22082-4E68-4A4C-3D8F-E2193DA2A6AA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EDF4F44B-B0BE-A1A5-D46C-D771914DE090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70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2B768B11-C3CB-966D-7180-62B69FF45DB1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9734D3A4-851F-0BEE-91DF-996F7CB2D3EC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B4A7A1D4-E081-04FF-7FFB-59E8A79D9ADF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696833BD-9BC2-574F-6BA5-8F7FFF746CA5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5" name="Gráfico 3">
            <a:extLst>
              <a:ext uri="{FF2B5EF4-FFF2-40B4-BE49-F238E27FC236}">
                <a16:creationId xmlns:a16="http://schemas.microsoft.com/office/drawing/2014/main" id="{6B358A5D-76EE-6AB1-7FBC-AFEEF624EBF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B463668D-67CB-1FA1-CC78-23AA0AAE55B6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B257B745-B226-41CE-E888-4FE8E91CB94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1614F60D-BFCD-4798-637A-BE9782CA0BE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15F0FE78-EC34-DF79-6EC4-1A431A1FDF84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12DA2588-196D-56DF-28A1-E09EF7AA4C7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0BB439D9-9745-014D-1FF5-14F84761E3A5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3A20636F-610E-5270-C65A-48F00108B23A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68B1102-3B2A-32FA-18A7-E11FB205EBB8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4548F400-9D21-95A3-7898-DA9DA69D7037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4747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24">
            <a:extLst>
              <a:ext uri="{FF2B5EF4-FFF2-40B4-BE49-F238E27FC236}">
                <a16:creationId xmlns:a16="http://schemas.microsoft.com/office/drawing/2014/main" id="{CEBACED0-EDFD-F2B6-689F-68CA5B688BFE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3A35DCD2-6281-1F30-35AF-049DB4254429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750B97DF-A0E3-F417-24DB-34B2C98648AF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904CE151-C259-4D1E-0C48-10708D12F9A0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9" name="Gráfico 3">
            <a:extLst>
              <a:ext uri="{FF2B5EF4-FFF2-40B4-BE49-F238E27FC236}">
                <a16:creationId xmlns:a16="http://schemas.microsoft.com/office/drawing/2014/main" id="{2BBB974E-410C-8CEB-D65E-55A5735B36D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F8CD211D-DD1D-F37D-04BA-36C7128B8CD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5A463E7A-E061-6E7E-CE85-AC8A3E76B933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1F6F51DA-D943-AE42-2BF7-8225CF6495D8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67E18C69-71EC-9634-E7FC-E7036BC0F4DD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4410555C-E98F-9FD1-5194-9D58A8ECD36A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94E961E0-3C74-FEDA-A8D9-80AE26A9C04B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4C006AB5-25AC-B10E-2979-2BA7BF048570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BD630BF1-7D3F-79E6-2EA1-1828640A95E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D23BEAFE-6BEB-61F0-6675-69164B9BA303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411299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4776639B-4F51-71BE-7221-0E3E31C2699B}"/>
              </a:ext>
            </a:extLst>
          </p:cNvPr>
          <p:cNvSpPr/>
          <p:nvPr userDrawn="1"/>
        </p:nvSpPr>
        <p:spPr>
          <a:xfrm>
            <a:off x="72000" y="79576"/>
            <a:ext cx="9000000" cy="4984348"/>
          </a:xfrm>
          <a:prstGeom prst="roundRect">
            <a:avLst>
              <a:gd name="adj" fmla="val 2617"/>
            </a:avLst>
          </a:prstGeom>
          <a:gradFill flip="none" rotWithShape="1">
            <a:gsLst>
              <a:gs pos="0">
                <a:schemeClr val="bg2"/>
              </a:gs>
              <a:gs pos="99000">
                <a:schemeClr val="tx2">
                  <a:lumMod val="90000"/>
                  <a:lumOff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rgbClr val="FFFFFF"/>
              </a:solidFill>
            </a:endParaRPr>
          </a:p>
        </p:txBody>
      </p:sp>
      <p:grpSp>
        <p:nvGrpSpPr>
          <p:cNvPr id="37" name="Gráfico 3">
            <a:extLst>
              <a:ext uri="{FF2B5EF4-FFF2-40B4-BE49-F238E27FC236}">
                <a16:creationId xmlns:a16="http://schemas.microsoft.com/office/drawing/2014/main" id="{D117D971-9756-C78E-5BC8-FC0526564834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35C84342-6F94-626A-EC4D-AB0976AB387C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C09D6448-57B9-F53B-451B-B57B9D851496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49F42CEC-77A0-B0D4-A82C-4E87E6ED7709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F8D092D9-800D-4466-B1F1-8CF6E2969B1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5866A865-F247-F5C3-8A83-25260E09FB10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2422B2F6-8C19-F438-D6B5-2272BB169C83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CCB9C4F1-0FC4-4B85-13D3-88E01E146C6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5986E1BF-D350-6C0E-CA4C-B27F9106F4E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778584F2-8784-2428-F6DB-80211ED8C4A5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1E1DFA2E-518B-CB1B-E880-5766F386FCA7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bg1"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232A0A8D-C5AC-264D-D385-A2B4EB0180E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979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FF410B0A-9B9E-76AC-7A7F-034D657DAED1}"/>
              </a:ext>
            </a:extLst>
          </p:cNvPr>
          <p:cNvSpPr/>
          <p:nvPr userDrawn="1"/>
        </p:nvSpPr>
        <p:spPr>
          <a:xfrm>
            <a:off x="72000" y="79576"/>
            <a:ext cx="9000000" cy="4984348"/>
          </a:xfrm>
          <a:prstGeom prst="roundRect">
            <a:avLst>
              <a:gd name="adj" fmla="val 2617"/>
            </a:avLst>
          </a:prstGeom>
          <a:gradFill flip="none" rotWithShape="1">
            <a:gsLst>
              <a:gs pos="0">
                <a:schemeClr val="accent4">
                  <a:lumMod val="95000"/>
                  <a:lumOff val="5000"/>
                </a:schemeClr>
              </a:gs>
              <a:gs pos="100000">
                <a:schemeClr val="accent4">
                  <a:lumMod val="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rgbClr val="FFFFFF"/>
              </a:solidFill>
            </a:endParaRPr>
          </a:p>
        </p:txBody>
      </p:sp>
      <p:grpSp>
        <p:nvGrpSpPr>
          <p:cNvPr id="13" name="Gráfico 3">
            <a:extLst>
              <a:ext uri="{FF2B5EF4-FFF2-40B4-BE49-F238E27FC236}">
                <a16:creationId xmlns:a16="http://schemas.microsoft.com/office/drawing/2014/main" id="{BB947AF9-33A5-D05B-DD49-445DEFE506C7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5467F19B-7B62-5D52-9E75-A7B88C56D4E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E2E9B030-E0FD-2F1C-129E-063C6267AEAA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C72836EE-53F3-D38F-12C4-3F2B1E37A64E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69A303BD-92BE-2702-B44C-1BF32854B19F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68A1568-8543-066D-17B3-2E16CE5B739D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FBAF87CB-9894-1DA6-5706-D5F619335BA6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DC62534A-EF5F-82AB-DC7D-3CB2B849C8FE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214C692E-123B-B0D7-ADAE-C2222F9051D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D500358C-7605-68BA-2330-7DF2EDD83F44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520522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3415719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7217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140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  <a:endParaRPr lang="es-ES_tradnl" sz="800" b="1" i="0" spc="-7" noProof="0" dirty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D6367A30-38B6-700E-5325-655D289FC4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22" name="Rectángulo 61">
              <a:extLst>
                <a:ext uri="{FF2B5EF4-FFF2-40B4-BE49-F238E27FC236}">
                  <a16:creationId xmlns:a16="http://schemas.microsoft.com/office/drawing/2014/main" id="{CF683BCA-E082-A364-A969-214F36C1EAC7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0A234F1C-66B7-34FA-FB01-3B50951335F2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dondear rectángulo de esquina del mismo lado 24">
            <a:extLst>
              <a:ext uri="{FF2B5EF4-FFF2-40B4-BE49-F238E27FC236}">
                <a16:creationId xmlns:a16="http://schemas.microsoft.com/office/drawing/2014/main" id="{1426691A-316B-1241-A97D-B437821967B0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7" name="Slide Number Placeholder 24">
            <a:extLst>
              <a:ext uri="{FF2B5EF4-FFF2-40B4-BE49-F238E27FC236}">
                <a16:creationId xmlns:a16="http://schemas.microsoft.com/office/drawing/2014/main" id="{0826033C-6BEC-870C-EA9B-7C308300047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8F9C8403-FCF5-4327-7D6C-BDE49E6CF219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B69030F2-2E6C-3FC5-C773-0C06A257B053}"/>
              </a:ext>
            </a:extLst>
          </p:cNvPr>
          <p:cNvSpPr/>
          <p:nvPr userDrawn="1"/>
        </p:nvSpPr>
        <p:spPr>
          <a:xfrm>
            <a:off x="2054866" y="177003"/>
            <a:ext cx="40709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Sección 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3F55E90-A083-2267-8094-49F9B872DFAD}"/>
              </a:ext>
            </a:extLst>
          </p:cNvPr>
          <p:cNvSpPr/>
          <p:nvPr userDrawn="1"/>
        </p:nvSpPr>
        <p:spPr>
          <a:xfrm>
            <a:off x="611999" y="166052"/>
            <a:ext cx="71019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1</a:t>
            </a:r>
          </a:p>
        </p:txBody>
      </p:sp>
    </p:spTree>
    <p:extLst>
      <p:ext uri="{BB962C8B-B14F-4D97-AF65-F5344CB8AC3E}">
        <p14:creationId xmlns:p14="http://schemas.microsoft.com/office/powerpoint/2010/main" val="416955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edo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14088" cy="1048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2997EAFA-B296-25F4-B3BB-DB05758DA420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15738E20-9F06-74BD-A946-D25A5E97FEBF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o 10">
            <a:extLst>
              <a:ext uri="{FF2B5EF4-FFF2-40B4-BE49-F238E27FC236}">
                <a16:creationId xmlns:a16="http://schemas.microsoft.com/office/drawing/2014/main" id="{E3C2588B-6EAE-2F8E-A59C-6FA536A67A5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2" name="Rectángulo 61">
              <a:extLst>
                <a:ext uri="{FF2B5EF4-FFF2-40B4-BE49-F238E27FC236}">
                  <a16:creationId xmlns:a16="http://schemas.microsoft.com/office/drawing/2014/main" id="{3A3709A0-BECA-50D1-C3C4-5FA703988EE9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C7494009-4F26-D906-93AB-680DAC294F8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dondear rectángulo de esquina del mismo lado 14">
            <a:extLst>
              <a:ext uri="{FF2B5EF4-FFF2-40B4-BE49-F238E27FC236}">
                <a16:creationId xmlns:a16="http://schemas.microsoft.com/office/drawing/2014/main" id="{2AEA124D-332B-60BA-2D43-2FFFF84E804C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0168C86D-F7FC-66C4-146A-854A5A0A349B}"/>
              </a:ext>
            </a:extLst>
          </p:cNvPr>
          <p:cNvSpPr/>
          <p:nvPr userDrawn="1"/>
        </p:nvSpPr>
        <p:spPr>
          <a:xfrm>
            <a:off x="2054866" y="177003"/>
            <a:ext cx="40709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Sección A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95B15B2-DF31-6330-9665-21776514CD9F}"/>
              </a:ext>
            </a:extLst>
          </p:cNvPr>
          <p:cNvSpPr/>
          <p:nvPr userDrawn="1"/>
        </p:nvSpPr>
        <p:spPr>
          <a:xfrm>
            <a:off x="611999" y="166052"/>
            <a:ext cx="71019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Número 1</a:t>
            </a:r>
          </a:p>
        </p:txBody>
      </p:sp>
    </p:spTree>
    <p:extLst>
      <p:ext uri="{BB962C8B-B14F-4D97-AF65-F5344CB8AC3E}">
        <p14:creationId xmlns:p14="http://schemas.microsoft.com/office/powerpoint/2010/main" val="3452457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50000">
              <a:srgbClr val="FFFFFF">
                <a:alpha val="0"/>
              </a:srgbClr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F55D582-53F4-BFF7-654D-95F98C0E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797402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7" imgW="378" imgH="379" progId="TCLayout.ActiveDocument.1">
                  <p:embed/>
                </p:oleObj>
              </mc:Choice>
              <mc:Fallback>
                <p:oleObj name="Diapositiva de think-cell" r:id="rId37" imgW="378" imgH="37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5D582-53F4-BFF7-654D-95F98C0E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563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9" r:id="rId1"/>
    <p:sldLayoutId id="2147486960" r:id="rId2"/>
    <p:sldLayoutId id="2147486958" r:id="rId3"/>
    <p:sldLayoutId id="2147486957" r:id="rId4"/>
    <p:sldLayoutId id="2147486968" r:id="rId5"/>
    <p:sldLayoutId id="2147486873" r:id="rId6"/>
    <p:sldLayoutId id="2147486980" r:id="rId7"/>
    <p:sldLayoutId id="2147486969" r:id="rId8"/>
    <p:sldLayoutId id="2147486981" r:id="rId9"/>
    <p:sldLayoutId id="2147486970" r:id="rId10"/>
    <p:sldLayoutId id="2147486961" r:id="rId11"/>
    <p:sldLayoutId id="2147486982" r:id="rId12"/>
    <p:sldLayoutId id="2147486971" r:id="rId13"/>
    <p:sldLayoutId id="2147486983" r:id="rId14"/>
    <p:sldLayoutId id="2147487049" r:id="rId15"/>
    <p:sldLayoutId id="2147486972" r:id="rId16"/>
    <p:sldLayoutId id="2147486998" r:id="rId17"/>
    <p:sldLayoutId id="2147486984" r:id="rId18"/>
    <p:sldLayoutId id="2147486986" r:id="rId19"/>
    <p:sldLayoutId id="2147486987" r:id="rId20"/>
    <p:sldLayoutId id="2147487003" r:id="rId21"/>
    <p:sldLayoutId id="2147487002" r:id="rId22"/>
    <p:sldLayoutId id="2147487005" r:id="rId23"/>
    <p:sldLayoutId id="2147486988" r:id="rId24"/>
    <p:sldLayoutId id="2147487119" r:id="rId25"/>
    <p:sldLayoutId id="2147487008" r:id="rId26"/>
    <p:sldLayoutId id="2147486990" r:id="rId27"/>
    <p:sldLayoutId id="2147486955" r:id="rId28"/>
    <p:sldLayoutId id="2147486959" r:id="rId29"/>
    <p:sldLayoutId id="2147486947" r:id="rId30"/>
    <p:sldLayoutId id="2147487120" r:id="rId31"/>
    <p:sldLayoutId id="2147486975" r:id="rId32"/>
    <p:sldLayoutId id="2147486956" r:id="rId33"/>
    <p:sldLayoutId id="2147486949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42909" rtl="0" eaLnBrk="1" latinLnBrk="0" hangingPunct="1">
        <a:lnSpc>
          <a:spcPct val="80000"/>
        </a:lnSpc>
        <a:spcBef>
          <a:spcPct val="0"/>
        </a:spcBef>
        <a:buNone/>
        <a:defRPr sz="2531" b="1" i="0" kern="1200" spc="-70" baseline="0">
          <a:solidFill>
            <a:schemeClr val="tx1"/>
          </a:solidFill>
          <a:latin typeface="+mj-lt"/>
          <a:ea typeface="Montserrat" charset="0"/>
          <a:cs typeface="Montserrat" charset="0"/>
        </a:defRPr>
      </a:lvl1pPr>
    </p:titleStyle>
    <p:bodyStyle>
      <a:lvl1pPr marL="0" indent="0" algn="l" defTabSz="642909" rtl="0" eaLnBrk="1" latinLnBrk="0" hangingPunct="1">
        <a:lnSpc>
          <a:spcPct val="150000"/>
        </a:lnSpc>
        <a:spcBef>
          <a:spcPts val="703"/>
        </a:spcBef>
        <a:buFont typeface="Arial" panose="020B0604020202020204" pitchFamily="34" charset="0"/>
        <a:buNone/>
        <a:defRPr sz="1969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844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703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703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1768000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2089455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410909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732362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21455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2909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4364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5818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7272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8726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50181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71635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1950">
          <p15:clr>
            <a:srgbClr val="F26B43"/>
          </p15:clr>
        </p15:guide>
        <p15:guide id="1" orient="horz" pos="1029">
          <p15:clr>
            <a:srgbClr val="F26B43"/>
          </p15:clr>
        </p15:guide>
        <p15:guide id="14" orient="horz" pos="165">
          <p15:clr>
            <a:srgbClr val="F26B43"/>
          </p15:clr>
        </p15:guide>
        <p15:guide id="27" orient="horz" pos="1882">
          <p15:clr>
            <a:srgbClr val="F26B43"/>
          </p15:clr>
        </p15:guide>
        <p15:guide id="28" pos="326">
          <p15:clr>
            <a:srgbClr val="F26B43"/>
          </p15:clr>
        </p15:guide>
        <p15:guide id="29" pos="3575">
          <p15:clr>
            <a:srgbClr val="F26B43"/>
          </p15:clr>
        </p15:guide>
        <p15:guide id="44">
          <p15:clr>
            <a:srgbClr val="F26B43"/>
          </p15:clr>
        </p15:guide>
        <p15:guide id="45" pos="3901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2057">
          <p15:clr>
            <a:srgbClr val="F26B43"/>
          </p15:clr>
        </p15:guide>
        <p15:guide id="48" pos="649">
          <p15:clr>
            <a:srgbClr val="F26B43"/>
          </p15:clr>
        </p15:guide>
        <p15:guide id="51" orient="horz" pos="338">
          <p15:clr>
            <a:srgbClr val="F26B43"/>
          </p15:clr>
        </p15:guide>
        <p15:guide id="52" pos="9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chart" Target="../charts/chart9.xml"/><Relationship Id="rId5" Type="http://schemas.openxmlformats.org/officeDocument/2006/relationships/tags" Target="../tags/tag21.xml"/><Relationship Id="rId10" Type="http://schemas.openxmlformats.org/officeDocument/2006/relationships/chart" Target="../charts/chart8.xml"/><Relationship Id="rId4" Type="http://schemas.openxmlformats.org/officeDocument/2006/relationships/tags" Target="../tags/tag20.xml"/><Relationship Id="rId9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chart" Target="../charts/chart1.xml"/><Relationship Id="rId26" Type="http://schemas.openxmlformats.org/officeDocument/2006/relationships/chart" Target="../charts/chart4.xml"/><Relationship Id="rId3" Type="http://schemas.openxmlformats.org/officeDocument/2006/relationships/tags" Target="../tags/tag4.xml"/><Relationship Id="rId21" Type="http://schemas.openxmlformats.org/officeDocument/2006/relationships/image" Target="../media/image1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notesSlide" Target="../notesSlides/notesSlide3.xml"/><Relationship Id="rId25" Type="http://schemas.openxmlformats.org/officeDocument/2006/relationships/chart" Target="../charts/chart3.xml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8.xml"/><Relationship Id="rId20" Type="http://schemas.openxmlformats.org/officeDocument/2006/relationships/oleObject" Target="../embeddings/oleObject2.bin"/><Relationship Id="rId29" Type="http://schemas.openxmlformats.org/officeDocument/2006/relationships/chart" Target="../charts/chart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17.jpe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16.png"/><Relationship Id="rId28" Type="http://schemas.openxmlformats.org/officeDocument/2006/relationships/chart" Target="../charts/chart5.xml"/><Relationship Id="rId10" Type="http://schemas.openxmlformats.org/officeDocument/2006/relationships/tags" Target="../tags/tag11.xml"/><Relationship Id="rId19" Type="http://schemas.openxmlformats.org/officeDocument/2006/relationships/chart" Target="../charts/chart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15.jpeg"/><Relationship Id="rId27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DA00CD78-36F2-6075-AB91-360B826C150C}"/>
              </a:ext>
            </a:extLst>
          </p:cNvPr>
          <p:cNvSpPr/>
          <p:nvPr/>
        </p:nvSpPr>
        <p:spPr>
          <a:xfrm flipV="1">
            <a:off x="1" y="3165632"/>
            <a:ext cx="9144000" cy="1977867"/>
          </a:xfrm>
          <a:prstGeom prst="rect">
            <a:avLst/>
          </a:prstGeom>
          <a:gradFill>
            <a:gsLst>
              <a:gs pos="60000">
                <a:schemeClr val="bg2">
                  <a:alpha val="0"/>
                </a:schemeClr>
              </a:gs>
              <a:gs pos="0">
                <a:schemeClr val="bg2">
                  <a:alpha val="15115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AR"/>
          </a:p>
        </p:txBody>
      </p:sp>
      <p:sp>
        <p:nvSpPr>
          <p:cNvPr id="14" name="Forma libre 13">
            <a:extLst>
              <a:ext uri="{FF2B5EF4-FFF2-40B4-BE49-F238E27FC236}">
                <a16:creationId xmlns:a16="http://schemas.microsoft.com/office/drawing/2014/main" id="{2B04020A-CF6C-729B-224F-AC83166E9346}"/>
              </a:ext>
            </a:extLst>
          </p:cNvPr>
          <p:cNvSpPr/>
          <p:nvPr/>
        </p:nvSpPr>
        <p:spPr>
          <a:xfrm>
            <a:off x="2607129" y="12029"/>
            <a:ext cx="6034719" cy="4880762"/>
          </a:xfrm>
          <a:custGeom>
            <a:avLst/>
            <a:gdLst>
              <a:gd name="connsiteX0" fmla="*/ 22318 w 6142274"/>
              <a:gd name="connsiteY0" fmla="*/ 0 h 4967750"/>
              <a:gd name="connsiteX1" fmla="*/ 1785190 w 6142274"/>
              <a:gd name="connsiteY1" fmla="*/ 0 h 4967750"/>
              <a:gd name="connsiteX2" fmla="*/ 1739204 w 6142274"/>
              <a:gd name="connsiteY2" fmla="*/ 27939 h 4967750"/>
              <a:gd name="connsiteX3" fmla="*/ 863063 w 6142274"/>
              <a:gd name="connsiteY3" fmla="*/ 1675668 h 4967750"/>
              <a:gd name="connsiteX4" fmla="*/ 2850177 w 6142274"/>
              <a:gd name="connsiteY4" fmla="*/ 3662779 h 4967750"/>
              <a:gd name="connsiteX5" fmla="*/ 4837301 w 6142274"/>
              <a:gd name="connsiteY5" fmla="*/ 1675668 h 4967750"/>
              <a:gd name="connsiteX6" fmla="*/ 3961158 w 6142274"/>
              <a:gd name="connsiteY6" fmla="*/ 27939 h 4967750"/>
              <a:gd name="connsiteX7" fmla="*/ 3915171 w 6142274"/>
              <a:gd name="connsiteY7" fmla="*/ 0 h 4967750"/>
              <a:gd name="connsiteX8" fmla="*/ 5680693 w 6142274"/>
              <a:gd name="connsiteY8" fmla="*/ 0 h 4967750"/>
              <a:gd name="connsiteX9" fmla="*/ 5745113 w 6142274"/>
              <a:gd name="connsiteY9" fmla="*/ 106072 h 4967750"/>
              <a:gd name="connsiteX10" fmla="*/ 6142274 w 6142274"/>
              <a:gd name="connsiteY10" fmla="*/ 1675668 h 4967750"/>
              <a:gd name="connsiteX11" fmla="*/ 2850177 w 6142274"/>
              <a:gd name="connsiteY11" fmla="*/ 4967750 h 4967750"/>
              <a:gd name="connsiteX12" fmla="*/ 122701 w 6142274"/>
              <a:gd name="connsiteY12" fmla="*/ 3516691 h 4967750"/>
              <a:gd name="connsiteX13" fmla="*/ 0 w 6142274"/>
              <a:gd name="connsiteY13" fmla="*/ 3315407 h 4967750"/>
              <a:gd name="connsiteX14" fmla="*/ 0 w 6142274"/>
              <a:gd name="connsiteY14" fmla="*/ 36752 h 49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142274" h="4967750">
                <a:moveTo>
                  <a:pt x="22318" y="0"/>
                </a:moveTo>
                <a:lnTo>
                  <a:pt x="1785190" y="0"/>
                </a:lnTo>
                <a:lnTo>
                  <a:pt x="1739204" y="27939"/>
                </a:lnTo>
                <a:cubicBezTo>
                  <a:pt x="1210623" y="385058"/>
                  <a:pt x="863063" y="989813"/>
                  <a:pt x="863063" y="1675668"/>
                </a:cubicBezTo>
                <a:cubicBezTo>
                  <a:pt x="863063" y="2773025"/>
                  <a:pt x="1752818" y="3662779"/>
                  <a:pt x="2850177" y="3662779"/>
                </a:cubicBezTo>
                <a:cubicBezTo>
                  <a:pt x="3947546" y="3662779"/>
                  <a:pt x="4837301" y="2773025"/>
                  <a:pt x="4837301" y="1675668"/>
                </a:cubicBezTo>
                <a:cubicBezTo>
                  <a:pt x="4837301" y="989813"/>
                  <a:pt x="4489740" y="385058"/>
                  <a:pt x="3961158" y="27939"/>
                </a:cubicBezTo>
                <a:lnTo>
                  <a:pt x="3915171" y="0"/>
                </a:lnTo>
                <a:lnTo>
                  <a:pt x="5680693" y="0"/>
                </a:lnTo>
                <a:lnTo>
                  <a:pt x="5745113" y="106072"/>
                </a:lnTo>
                <a:cubicBezTo>
                  <a:pt x="5998422" y="572551"/>
                  <a:pt x="6142274" y="1107214"/>
                  <a:pt x="6142274" y="1675668"/>
                </a:cubicBezTo>
                <a:cubicBezTo>
                  <a:pt x="6142274" y="3484828"/>
                  <a:pt x="4669231" y="4967750"/>
                  <a:pt x="2850177" y="4967750"/>
                </a:cubicBezTo>
                <a:cubicBezTo>
                  <a:pt x="1719450" y="4967750"/>
                  <a:pt x="716160" y="4392347"/>
                  <a:pt x="122701" y="3516691"/>
                </a:cubicBezTo>
                <a:lnTo>
                  <a:pt x="0" y="3315407"/>
                </a:lnTo>
                <a:lnTo>
                  <a:pt x="0" y="36752"/>
                </a:lnTo>
                <a:close/>
              </a:path>
            </a:pathLst>
          </a:custGeom>
          <a:gradFill flip="none" rotWithShape="1">
            <a:gsLst>
              <a:gs pos="19000">
                <a:schemeClr val="bg2">
                  <a:alpha val="0"/>
                </a:schemeClr>
              </a:gs>
              <a:gs pos="99000">
                <a:schemeClr val="bg2">
                  <a:alpha val="25030"/>
                </a:schemeClr>
              </a:gs>
            </a:gsLst>
            <a:lin ang="2700000" scaled="1"/>
            <a:tileRect/>
          </a:gradFill>
          <a:ln w="154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>
              <a:latin typeface="Pulso" pitchFamily="2" charset="0"/>
            </a:endParaRP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642215B9-10BA-5E39-581A-5998D83E6021}"/>
              </a:ext>
            </a:extLst>
          </p:cNvPr>
          <p:cNvSpPr txBox="1">
            <a:spLocks/>
          </p:cNvSpPr>
          <p:nvPr/>
        </p:nvSpPr>
        <p:spPr>
          <a:xfrm>
            <a:off x="3282054" y="1478425"/>
            <a:ext cx="1923604" cy="9233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64290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531" b="1" i="0" kern="1200" spc="-7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es-AR" sz="6000" b="0" spc="-100" dirty="0">
                <a:solidFill>
                  <a:schemeClr val="tx2"/>
                </a:solidFill>
                <a:latin typeface="Pulso Light" pitchFamily="2" charset="0"/>
              </a:rPr>
              <a:t>Título</a:t>
            </a:r>
          </a:p>
        </p:txBody>
      </p:sp>
      <p:sp>
        <p:nvSpPr>
          <p:cNvPr id="24" name="Subtítulo 8">
            <a:extLst>
              <a:ext uri="{FF2B5EF4-FFF2-40B4-BE49-F238E27FC236}">
                <a16:creationId xmlns:a16="http://schemas.microsoft.com/office/drawing/2014/main" id="{21389520-E7A9-21E0-CBBA-94BE678BFF9C}"/>
              </a:ext>
            </a:extLst>
          </p:cNvPr>
          <p:cNvSpPr txBox="1">
            <a:spLocks/>
          </p:cNvSpPr>
          <p:nvPr/>
        </p:nvSpPr>
        <p:spPr>
          <a:xfrm>
            <a:off x="3282054" y="2452410"/>
            <a:ext cx="1872307" cy="6771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642909" rtl="0" eaLnBrk="1" latinLnBrk="0" hangingPunct="1">
              <a:lnSpc>
                <a:spcPct val="150000"/>
              </a:lnSpc>
              <a:spcBef>
                <a:spcPts val="703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68000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55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09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62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238"/>
              </a:spcBef>
              <a:spcAft>
                <a:spcPts val="0"/>
              </a:spcAft>
            </a:pPr>
            <a:r>
              <a:rPr lang="en-US" sz="4400" b="1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Roboto" panose="02000000000000000000" pitchFamily="2" charset="0"/>
              </a:rPr>
              <a:t>Bajada</a:t>
            </a: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F72988F0-E208-434B-1A36-ADEC07832481}"/>
              </a:ext>
            </a:extLst>
          </p:cNvPr>
          <p:cNvSpPr/>
          <p:nvPr/>
        </p:nvSpPr>
        <p:spPr>
          <a:xfrm>
            <a:off x="1365129" y="1317883"/>
            <a:ext cx="1242000" cy="2066400"/>
          </a:xfrm>
          <a:prstGeom prst="roundRect">
            <a:avLst>
              <a:gd name="adj" fmla="val 11709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8" name="Rectángulo redondeado 27">
            <a:extLst>
              <a:ext uri="{FF2B5EF4-FFF2-40B4-BE49-F238E27FC236}">
                <a16:creationId xmlns:a16="http://schemas.microsoft.com/office/drawing/2014/main" id="{965D8FB7-64B8-2FCA-081A-214490EFC08E}"/>
              </a:ext>
            </a:extLst>
          </p:cNvPr>
          <p:cNvSpPr/>
          <p:nvPr/>
        </p:nvSpPr>
        <p:spPr>
          <a:xfrm>
            <a:off x="69202" y="683676"/>
            <a:ext cx="1242000" cy="1443600"/>
          </a:xfrm>
          <a:prstGeom prst="roundRect">
            <a:avLst>
              <a:gd name="adj" fmla="val 11709"/>
            </a:avLst>
          </a:prstGeom>
          <a:blipFill>
            <a:blip r:embed="rId4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9" name="Rectángulo redondeado 28">
            <a:extLst>
              <a:ext uri="{FF2B5EF4-FFF2-40B4-BE49-F238E27FC236}">
                <a16:creationId xmlns:a16="http://schemas.microsoft.com/office/drawing/2014/main" id="{A8AA41C6-6175-C534-1784-077A7295207C}"/>
              </a:ext>
            </a:extLst>
          </p:cNvPr>
          <p:cNvSpPr/>
          <p:nvPr/>
        </p:nvSpPr>
        <p:spPr>
          <a:xfrm>
            <a:off x="69202" y="2184588"/>
            <a:ext cx="1242000" cy="1882800"/>
          </a:xfrm>
          <a:prstGeom prst="roundRect">
            <a:avLst>
              <a:gd name="adj" fmla="val 11709"/>
            </a:avLst>
          </a:prstGeom>
          <a:blipFill>
            <a:blip r:embed="rId5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1" name="Redondear rectángulo de esquina del mismo lado 30">
            <a:extLst>
              <a:ext uri="{FF2B5EF4-FFF2-40B4-BE49-F238E27FC236}">
                <a16:creationId xmlns:a16="http://schemas.microsoft.com/office/drawing/2014/main" id="{65B95858-94A8-6AB4-264B-157164A43F0C}"/>
              </a:ext>
            </a:extLst>
          </p:cNvPr>
          <p:cNvSpPr/>
          <p:nvPr/>
        </p:nvSpPr>
        <p:spPr>
          <a:xfrm rot="10800000">
            <a:off x="69203" y="4128300"/>
            <a:ext cx="1242000" cy="1015200"/>
          </a:xfrm>
          <a:prstGeom prst="round2SameRect">
            <a:avLst>
              <a:gd name="adj1" fmla="val 0"/>
              <a:gd name="adj2" fmla="val 14241"/>
            </a:avLst>
          </a:prstGeom>
          <a:blipFill dpi="0" rotWithShape="0">
            <a:blip r:embed="rId6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2" name="Redondear rectángulo de esquina del mismo lado 31">
            <a:extLst>
              <a:ext uri="{FF2B5EF4-FFF2-40B4-BE49-F238E27FC236}">
                <a16:creationId xmlns:a16="http://schemas.microsoft.com/office/drawing/2014/main" id="{843CF3B4-A3B5-FBBF-654A-C92C46AAF6F7}"/>
              </a:ext>
            </a:extLst>
          </p:cNvPr>
          <p:cNvSpPr/>
          <p:nvPr/>
        </p:nvSpPr>
        <p:spPr>
          <a:xfrm rot="10800000">
            <a:off x="1365129" y="3444300"/>
            <a:ext cx="1242000" cy="1699200"/>
          </a:xfrm>
          <a:prstGeom prst="round2SameRect">
            <a:avLst>
              <a:gd name="adj1" fmla="val 0"/>
              <a:gd name="adj2" fmla="val 12032"/>
            </a:avLst>
          </a:prstGeom>
          <a:blipFill dpi="0" rotWithShape="0">
            <a:blip r:embed="rId7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6" name="Redondear rectángulo de esquina del mismo lado 35">
            <a:extLst>
              <a:ext uri="{FF2B5EF4-FFF2-40B4-BE49-F238E27FC236}">
                <a16:creationId xmlns:a16="http://schemas.microsoft.com/office/drawing/2014/main" id="{653F00E8-1105-4763-D05C-13FBB2203FAA}"/>
              </a:ext>
            </a:extLst>
          </p:cNvPr>
          <p:cNvSpPr/>
          <p:nvPr/>
        </p:nvSpPr>
        <p:spPr>
          <a:xfrm>
            <a:off x="69202" y="0"/>
            <a:ext cx="1242000" cy="630000"/>
          </a:xfrm>
          <a:prstGeom prst="round2SameRect">
            <a:avLst>
              <a:gd name="adj1" fmla="val 0"/>
              <a:gd name="adj2" fmla="val 21897"/>
            </a:avLst>
          </a:prstGeom>
          <a:blipFill>
            <a:blip r:embed="rId8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7" name="Redondear rectángulo de esquina del mismo lado 36">
            <a:extLst>
              <a:ext uri="{FF2B5EF4-FFF2-40B4-BE49-F238E27FC236}">
                <a16:creationId xmlns:a16="http://schemas.microsoft.com/office/drawing/2014/main" id="{80FAC410-1CD3-D465-5B37-8D49F3F9031D}"/>
              </a:ext>
            </a:extLst>
          </p:cNvPr>
          <p:cNvSpPr/>
          <p:nvPr/>
        </p:nvSpPr>
        <p:spPr>
          <a:xfrm>
            <a:off x="1365129" y="0"/>
            <a:ext cx="1242000" cy="1263600"/>
          </a:xfrm>
          <a:prstGeom prst="round2SameRect">
            <a:avLst>
              <a:gd name="adj1" fmla="val 0"/>
              <a:gd name="adj2" fmla="val 11589"/>
            </a:avLst>
          </a:prstGeom>
          <a:blipFill>
            <a:blip r:embed="rId9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8" name="Gráfico 3">
            <a:extLst>
              <a:ext uri="{FF2B5EF4-FFF2-40B4-BE49-F238E27FC236}">
                <a16:creationId xmlns:a16="http://schemas.microsoft.com/office/drawing/2014/main" id="{B25044B3-C9AB-1658-0FF7-8BCF019CE50E}"/>
              </a:ext>
            </a:extLst>
          </p:cNvPr>
          <p:cNvGrpSpPr/>
          <p:nvPr/>
        </p:nvGrpSpPr>
        <p:grpSpPr>
          <a:xfrm>
            <a:off x="3282054" y="305438"/>
            <a:ext cx="1041292" cy="238881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6E9FF665-9A44-D1AF-C8C0-8DCB88D2F883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91D970B2-11B3-F837-A4A0-F72FD106E162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ACFC3913-E51C-97B7-DD43-450619F9B2F0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0CCE5758-35A8-0F40-8FD4-878897144A39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6BE00EAA-A3F2-33F6-D015-C2668B7F2B58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6" name="Forma libre 45">
              <a:extLst>
                <a:ext uri="{FF2B5EF4-FFF2-40B4-BE49-F238E27FC236}">
                  <a16:creationId xmlns:a16="http://schemas.microsoft.com/office/drawing/2014/main" id="{7C6C0BE2-350F-4482-E2EE-A7474177D43B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7" name="Forma libre 46">
              <a:extLst>
                <a:ext uri="{FF2B5EF4-FFF2-40B4-BE49-F238E27FC236}">
                  <a16:creationId xmlns:a16="http://schemas.microsoft.com/office/drawing/2014/main" id="{06607C40-AE34-A786-1031-FEC0D96237ED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8" name="Forma libre 47">
              <a:extLst>
                <a:ext uri="{FF2B5EF4-FFF2-40B4-BE49-F238E27FC236}">
                  <a16:creationId xmlns:a16="http://schemas.microsoft.com/office/drawing/2014/main" id="{D9CD700A-874D-1311-778F-DCDB92A584F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</p:grpSp>
      <p:sp>
        <p:nvSpPr>
          <p:cNvPr id="49" name="Marcador de texto 20">
            <a:extLst>
              <a:ext uri="{FF2B5EF4-FFF2-40B4-BE49-F238E27FC236}">
                <a16:creationId xmlns:a16="http://schemas.microsoft.com/office/drawing/2014/main" id="{9B62154F-226F-B17F-AC90-182C10A464E6}"/>
              </a:ext>
            </a:extLst>
          </p:cNvPr>
          <p:cNvSpPr txBox="1">
            <a:spLocks/>
          </p:cNvSpPr>
          <p:nvPr/>
        </p:nvSpPr>
        <p:spPr>
          <a:xfrm>
            <a:off x="3282054" y="4693203"/>
            <a:ext cx="921727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642909" rtl="0" eaLnBrk="1" latinLnBrk="0" hangingPunct="1">
              <a:lnSpc>
                <a:spcPct val="150000"/>
              </a:lnSpc>
              <a:spcBef>
                <a:spcPts val="703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68000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55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09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62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es-AR" sz="1000" dirty="0">
                <a:solidFill>
                  <a:schemeClr val="tx2"/>
                </a:solidFill>
                <a:latin typeface="Pulso Light" pitchFamily="2" charset="0"/>
                <a:ea typeface="Roboto Light" panose="02000000000000000000" pitchFamily="2" charset="0"/>
              </a:rPr>
              <a:t>Diciembre 2025</a:t>
            </a:r>
          </a:p>
        </p:txBody>
      </p:sp>
    </p:spTree>
    <p:extLst>
      <p:ext uri="{BB962C8B-B14F-4D97-AF65-F5344CB8AC3E}">
        <p14:creationId xmlns:p14="http://schemas.microsoft.com/office/powerpoint/2010/main" val="178179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AC2C8-5BA3-27A2-D3A4-E1DBBB09E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45C27912-D6D3-0A41-8B2F-D0E1226E4668}"/>
              </a:ext>
            </a:extLst>
          </p:cNvPr>
          <p:cNvSpPr>
            <a:spLocks/>
          </p:cNvSpPr>
          <p:nvPr/>
        </p:nvSpPr>
        <p:spPr>
          <a:xfrm>
            <a:off x="540658" y="1624088"/>
            <a:ext cx="2638762" cy="2428496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123123A-4D8D-66B6-923E-97FFE0D4F289}"/>
              </a:ext>
            </a:extLst>
          </p:cNvPr>
          <p:cNvSpPr txBox="1">
            <a:spLocks/>
          </p:cNvSpPr>
          <p:nvPr/>
        </p:nvSpPr>
        <p:spPr>
          <a:xfrm>
            <a:off x="750522" y="1761623"/>
            <a:ext cx="221765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 dirty="0">
                <a:solidFill>
                  <a:schemeClr val="tx2"/>
                </a:solidFill>
              </a:rPr>
              <a:t>Título simulado 1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0A5FB08-5F51-BDA6-F70B-14DA6432944E}"/>
              </a:ext>
            </a:extLst>
          </p:cNvPr>
          <p:cNvSpPr txBox="1">
            <a:spLocks/>
          </p:cNvSpPr>
          <p:nvPr/>
        </p:nvSpPr>
        <p:spPr>
          <a:xfrm>
            <a:off x="982750" y="2010677"/>
            <a:ext cx="1753194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ore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psu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dolor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s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me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nsectetur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dipiscing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l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, sed d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110FA2-8046-F1BA-4DE7-282D631C8A0E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EC1A068-8EFC-538F-BBE2-5AE9FE01D5D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3835037"/>
              </p:ext>
            </p:extLst>
          </p:nvPr>
        </p:nvGraphicFramePr>
        <p:xfrm>
          <a:off x="1154526" y="2458601"/>
          <a:ext cx="1413652" cy="141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CDDD00FF-B2BF-A8EB-EE72-B80902C5E21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1058" y="3045128"/>
            <a:ext cx="600588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600" b="1" dirty="0">
                <a:solidFill>
                  <a:schemeClr val="tx2"/>
                </a:solidFill>
                <a:latin typeface="Pulso" pitchFamily="2" charset="0"/>
              </a:rPr>
              <a:t>74%</a:t>
            </a:r>
          </a:p>
        </p:txBody>
      </p:sp>
      <p:sp>
        <p:nvSpPr>
          <p:cNvPr id="15" name="Rectángulo redondeado 14">
            <a:extLst>
              <a:ext uri="{FF2B5EF4-FFF2-40B4-BE49-F238E27FC236}">
                <a16:creationId xmlns:a16="http://schemas.microsoft.com/office/drawing/2014/main" id="{95DBF810-6F73-51A6-768C-BB40E8029408}"/>
              </a:ext>
            </a:extLst>
          </p:cNvPr>
          <p:cNvSpPr>
            <a:spLocks/>
          </p:cNvSpPr>
          <p:nvPr/>
        </p:nvSpPr>
        <p:spPr>
          <a:xfrm>
            <a:off x="3254830" y="1624088"/>
            <a:ext cx="2638762" cy="2428496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18DD962-8801-C624-D14A-3C0124715918}"/>
              </a:ext>
            </a:extLst>
          </p:cNvPr>
          <p:cNvSpPr txBox="1">
            <a:spLocks/>
          </p:cNvSpPr>
          <p:nvPr/>
        </p:nvSpPr>
        <p:spPr>
          <a:xfrm>
            <a:off x="3464694" y="1761623"/>
            <a:ext cx="221765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 dirty="0">
                <a:solidFill>
                  <a:schemeClr val="tx2"/>
                </a:solidFill>
              </a:rPr>
              <a:t>Título simulado 1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600E76F-7433-3B1F-E216-9FFFF597ED92}"/>
              </a:ext>
            </a:extLst>
          </p:cNvPr>
          <p:cNvSpPr txBox="1">
            <a:spLocks/>
          </p:cNvSpPr>
          <p:nvPr/>
        </p:nvSpPr>
        <p:spPr>
          <a:xfrm>
            <a:off x="3696922" y="2010677"/>
            <a:ext cx="1753194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ore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psu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dolor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s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me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nsectetur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dipiscing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l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, sed do</a:t>
            </a: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BECA4D6D-9EB3-B896-A1BB-1866DE82AA9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1505510"/>
              </p:ext>
            </p:extLst>
          </p:nvPr>
        </p:nvGraphicFramePr>
        <p:xfrm>
          <a:off x="3868698" y="2458601"/>
          <a:ext cx="1413652" cy="141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CuadroTexto 19">
            <a:extLst>
              <a:ext uri="{FF2B5EF4-FFF2-40B4-BE49-F238E27FC236}">
                <a16:creationId xmlns:a16="http://schemas.microsoft.com/office/drawing/2014/main" id="{F8A351AF-6A03-8354-B22D-077BEB74843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275230" y="3045128"/>
            <a:ext cx="600588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600" b="1" dirty="0">
                <a:solidFill>
                  <a:schemeClr val="tx2"/>
                </a:solidFill>
                <a:latin typeface="Pulso" pitchFamily="2" charset="0"/>
              </a:rPr>
              <a:t>74%</a:t>
            </a:r>
          </a:p>
        </p:txBody>
      </p:sp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C3AE8696-EE27-2142-70F8-3B59BB4EDEA9}"/>
              </a:ext>
            </a:extLst>
          </p:cNvPr>
          <p:cNvSpPr>
            <a:spLocks/>
          </p:cNvSpPr>
          <p:nvPr/>
        </p:nvSpPr>
        <p:spPr>
          <a:xfrm>
            <a:off x="5969001" y="1624088"/>
            <a:ext cx="2638762" cy="2428496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FE25F49-E49F-B0C3-4865-F9258EFCADFB}"/>
              </a:ext>
            </a:extLst>
          </p:cNvPr>
          <p:cNvSpPr txBox="1">
            <a:spLocks/>
          </p:cNvSpPr>
          <p:nvPr/>
        </p:nvSpPr>
        <p:spPr>
          <a:xfrm>
            <a:off x="6178865" y="1761623"/>
            <a:ext cx="221765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 dirty="0">
                <a:solidFill>
                  <a:schemeClr val="tx2"/>
                </a:solidFill>
              </a:rPr>
              <a:t>Título simulado 1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C1F9C58-B405-1EF2-617F-D86529B5A55C}"/>
              </a:ext>
            </a:extLst>
          </p:cNvPr>
          <p:cNvSpPr txBox="1">
            <a:spLocks/>
          </p:cNvSpPr>
          <p:nvPr/>
        </p:nvSpPr>
        <p:spPr>
          <a:xfrm>
            <a:off x="6411093" y="2010677"/>
            <a:ext cx="1753194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ore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psum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dolor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s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me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nsectetur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adipiscing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</a:t>
            </a:r>
            <a:r>
              <a:rPr lang="es-ES_tradnl" sz="800" b="0" spc="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lit</a:t>
            </a:r>
            <a:r>
              <a:rPr lang="es-ES_tradnl" sz="800" b="0" spc="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, sed do</a:t>
            </a: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4F4A4D36-1F70-25F3-FF33-257C46C4D20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90901020"/>
              </p:ext>
            </p:extLst>
          </p:nvPr>
        </p:nvGraphicFramePr>
        <p:xfrm>
          <a:off x="6582869" y="2458601"/>
          <a:ext cx="1413652" cy="141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0" name="CuadroTexto 29">
            <a:extLst>
              <a:ext uri="{FF2B5EF4-FFF2-40B4-BE49-F238E27FC236}">
                <a16:creationId xmlns:a16="http://schemas.microsoft.com/office/drawing/2014/main" id="{5744743B-E41C-4E59-4A77-513278C3094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989401" y="3045128"/>
            <a:ext cx="600588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600" b="1" dirty="0">
                <a:solidFill>
                  <a:schemeClr val="tx2"/>
                </a:solidFill>
                <a:latin typeface="Pulso" pitchFamily="2" charset="0"/>
              </a:rPr>
              <a:t>74%</a:t>
            </a:r>
          </a:p>
        </p:txBody>
      </p:sp>
    </p:spTree>
    <p:extLst>
      <p:ext uri="{BB962C8B-B14F-4D97-AF65-F5344CB8AC3E}">
        <p14:creationId xmlns:p14="http://schemas.microsoft.com/office/powerpoint/2010/main" val="66345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18E5E-C200-FF34-060C-9F6648895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A818B1E9-FE56-55B3-2F24-16ED69CE7F96}"/>
              </a:ext>
            </a:extLst>
          </p:cNvPr>
          <p:cNvSpPr>
            <a:spLocks/>
          </p:cNvSpPr>
          <p:nvPr/>
        </p:nvSpPr>
        <p:spPr>
          <a:xfrm>
            <a:off x="3283858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6932B207-2BD7-B04E-E9DF-8255A6537F8D}"/>
              </a:ext>
            </a:extLst>
          </p:cNvPr>
          <p:cNvSpPr>
            <a:spLocks/>
          </p:cNvSpPr>
          <p:nvPr/>
        </p:nvSpPr>
        <p:spPr>
          <a:xfrm>
            <a:off x="6019374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5BB8ECA4-289E-FD37-05DA-656A7ADE6F04}"/>
              </a:ext>
            </a:extLst>
          </p:cNvPr>
          <p:cNvSpPr>
            <a:spLocks/>
          </p:cNvSpPr>
          <p:nvPr/>
        </p:nvSpPr>
        <p:spPr>
          <a:xfrm>
            <a:off x="3280685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3A6299B5-94D3-4D80-BB66-87AD18E57F8F}"/>
              </a:ext>
            </a:extLst>
          </p:cNvPr>
          <p:cNvSpPr>
            <a:spLocks/>
          </p:cNvSpPr>
          <p:nvPr/>
        </p:nvSpPr>
        <p:spPr>
          <a:xfrm>
            <a:off x="6020712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E82FC6E9-23AF-E5DD-E4A5-D9B9F7D2EFB0}"/>
              </a:ext>
            </a:extLst>
          </p:cNvPr>
          <p:cNvSpPr>
            <a:spLocks/>
          </p:cNvSpPr>
          <p:nvPr/>
        </p:nvSpPr>
        <p:spPr>
          <a:xfrm>
            <a:off x="540658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BA7B973E-B76E-47AE-B082-877F532A8DE9}"/>
              </a:ext>
            </a:extLst>
          </p:cNvPr>
          <p:cNvSpPr>
            <a:spLocks/>
          </p:cNvSpPr>
          <p:nvPr/>
        </p:nvSpPr>
        <p:spPr>
          <a:xfrm>
            <a:off x="540657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04E28CE-4273-D273-E2C4-73E9D399EB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4E28CE-4273-D273-E2C4-73E9D399E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itle 1">
            <a:extLst>
              <a:ext uri="{FF2B5EF4-FFF2-40B4-BE49-F238E27FC236}">
                <a16:creationId xmlns:a16="http://schemas.microsoft.com/office/drawing/2014/main" id="{9331E265-74C0-1F1B-6812-9BF8B222DC9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C800C5-25E9-9847-6CDE-7F4C5AEF53CC}"/>
              </a:ext>
            </a:extLst>
          </p:cNvPr>
          <p:cNvSpPr txBox="1">
            <a:spLocks/>
          </p:cNvSpPr>
          <p:nvPr/>
        </p:nvSpPr>
        <p:spPr>
          <a:xfrm>
            <a:off x="749954" y="1841150"/>
            <a:ext cx="1547572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 dirty="0">
                <a:solidFill>
                  <a:srgbClr val="FFFFFF"/>
                </a:solidFill>
              </a:rPr>
              <a:t>Título simulado de varias líneas de texto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77AEC79-8D9C-6AA8-86CC-D896F7406378}"/>
              </a:ext>
            </a:extLst>
          </p:cNvPr>
          <p:cNvSpPr txBox="1">
            <a:spLocks/>
          </p:cNvSpPr>
          <p:nvPr/>
        </p:nvSpPr>
        <p:spPr>
          <a:xfrm>
            <a:off x="749954" y="2512571"/>
            <a:ext cx="2016298" cy="167738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Lore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ipsu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dolor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si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ame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cons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ctetur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adipiscing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li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, sed do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ius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mod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tempor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incididun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ut labore et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magna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aliqua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Ut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ni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ad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mini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venia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, quis nos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trud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xercitation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ullamco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laboris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nisi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ut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aliquip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ex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a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commodo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consequa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Duis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aut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irur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dolor in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repreh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end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ri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in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voluptat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veli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ss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cillum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eu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fugiat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nulla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noProof="0" dirty="0" err="1">
                <a:solidFill>
                  <a:schemeClr val="tx2"/>
                </a:solidFill>
                <a:latin typeface="Pulso Light" pitchFamily="2" charset="0"/>
              </a:rPr>
              <a:t>pariatur</a:t>
            </a:r>
            <a:r>
              <a:rPr lang="es-ES_tradnl" sz="900" b="0" spc="0" noProof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C490B0B-C52C-6A7D-319E-643B111647A0}"/>
              </a:ext>
            </a:extLst>
          </p:cNvPr>
          <p:cNvSpPr txBox="1">
            <a:spLocks/>
          </p:cNvSpPr>
          <p:nvPr/>
        </p:nvSpPr>
        <p:spPr>
          <a:xfrm>
            <a:off x="3489982" y="1841150"/>
            <a:ext cx="1450852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dirty="0">
                <a:solidFill>
                  <a:srgbClr val="FFFFFF"/>
                </a:solidFill>
              </a:rPr>
              <a:t>Título simulado de varias líneas de texto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2ACED3B-2827-498C-DABB-356C0359F95B}"/>
              </a:ext>
            </a:extLst>
          </p:cNvPr>
          <p:cNvSpPr txBox="1">
            <a:spLocks/>
          </p:cNvSpPr>
          <p:nvPr/>
        </p:nvSpPr>
        <p:spPr>
          <a:xfrm>
            <a:off x="3489982" y="2512571"/>
            <a:ext cx="2016298" cy="167738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Lore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psu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dolor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s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me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ons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tetu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dipiscing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l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, sed do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iu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mo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tempo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ncididun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ut labore e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magna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liqu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U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ni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a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mini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enia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, quis nos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trud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xercitation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ullamco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labori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nisi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u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liquip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ex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commodo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onsequa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ui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ut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ru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dolor in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repreh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en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r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in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oluptat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el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ss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illu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u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fugia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null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pariatu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DFC6ABA-9137-EE2B-F4BB-8950FDF8CADF}"/>
              </a:ext>
            </a:extLst>
          </p:cNvPr>
          <p:cNvSpPr txBox="1">
            <a:spLocks/>
          </p:cNvSpPr>
          <p:nvPr/>
        </p:nvSpPr>
        <p:spPr>
          <a:xfrm>
            <a:off x="6230010" y="2512571"/>
            <a:ext cx="2049596" cy="167738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Lore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psu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dolor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s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me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ons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tetu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dipiscing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l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, sed do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iu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mo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tempo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ncididun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ut labore e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magna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liqu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U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ni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a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mini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enia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, quis nos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trud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xercitation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ullamco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labori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nisi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ut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liquip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ex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commodo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onsequa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uis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aut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iru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dolor in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repreh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end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r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in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oluptat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veli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ss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cillum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dolore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eu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fugiat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nulla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 </a:t>
            </a:r>
            <a:r>
              <a:rPr lang="es-ES_tradnl" sz="900" b="0" spc="0" dirty="0" err="1">
                <a:solidFill>
                  <a:schemeClr val="tx2"/>
                </a:solidFill>
                <a:latin typeface="Pulso Light" pitchFamily="2" charset="0"/>
              </a:rPr>
              <a:t>pariatur</a:t>
            </a:r>
            <a:r>
              <a:rPr lang="es-ES_tradnl" sz="900" b="0" spc="0" dirty="0">
                <a:solidFill>
                  <a:schemeClr val="tx2"/>
                </a:solidFill>
                <a:latin typeface="Pulso Light" pitchFamily="2" charset="0"/>
              </a:rPr>
              <a:t>.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4ED987E-0D74-97ED-F3BA-881B7293F875}"/>
              </a:ext>
            </a:extLst>
          </p:cNvPr>
          <p:cNvSpPr txBox="1">
            <a:spLocks/>
          </p:cNvSpPr>
          <p:nvPr/>
        </p:nvSpPr>
        <p:spPr>
          <a:xfrm>
            <a:off x="6225498" y="1841150"/>
            <a:ext cx="1450852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dirty="0">
                <a:solidFill>
                  <a:srgbClr val="FFFFFF"/>
                </a:solidFill>
              </a:rPr>
              <a:t>Título simulado de varias líneas de texto</a:t>
            </a:r>
          </a:p>
        </p:txBody>
      </p:sp>
    </p:spTree>
    <p:extLst>
      <p:ext uri="{BB962C8B-B14F-4D97-AF65-F5344CB8AC3E}">
        <p14:creationId xmlns:p14="http://schemas.microsoft.com/office/powerpoint/2010/main" val="319372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AD737-4736-063F-A7A5-E8CCF4834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CE88A3E-E558-27E0-49A6-EC205DFFCB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E88A3E-E558-27E0-49A6-EC205DFFC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D3AA9355-1351-BA81-A41C-5954F2B3F257}"/>
              </a:ext>
            </a:extLst>
          </p:cNvPr>
          <p:cNvSpPr>
            <a:spLocks/>
          </p:cNvSpPr>
          <p:nvPr/>
        </p:nvSpPr>
        <p:spPr>
          <a:xfrm>
            <a:off x="4571330" y="1682803"/>
            <a:ext cx="2015337" cy="2652683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A4ACE72-6D05-BD4D-B8C2-839EE5470F2E}"/>
              </a:ext>
            </a:extLst>
          </p:cNvPr>
          <p:cNvSpPr>
            <a:spLocks/>
          </p:cNvSpPr>
          <p:nvPr/>
        </p:nvSpPr>
        <p:spPr>
          <a:xfrm>
            <a:off x="2555994" y="1682803"/>
            <a:ext cx="2015337" cy="2652683"/>
          </a:xfrm>
          <a:prstGeom prst="rect">
            <a:avLst/>
          </a:prstGeom>
          <a:solidFill>
            <a:srgbClr val="059BCE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7E84D8D1-80DF-7922-8951-31752841A4DF}"/>
              </a:ext>
            </a:extLst>
          </p:cNvPr>
          <p:cNvSpPr>
            <a:spLocks/>
          </p:cNvSpPr>
          <p:nvPr/>
        </p:nvSpPr>
        <p:spPr>
          <a:xfrm rot="16200000">
            <a:off x="221985" y="2001473"/>
            <a:ext cx="2652684" cy="2015340"/>
          </a:xfrm>
          <a:prstGeom prst="round2SameRect">
            <a:avLst>
              <a:gd name="adj1" fmla="val 4847"/>
              <a:gd name="adj2" fmla="val 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1AF73382-1674-90AC-DC9C-B2227E0A996F}"/>
              </a:ext>
            </a:extLst>
          </p:cNvPr>
          <p:cNvSpPr>
            <a:spLocks/>
          </p:cNvSpPr>
          <p:nvPr/>
        </p:nvSpPr>
        <p:spPr>
          <a:xfrm rot="5400000">
            <a:off x="6267986" y="2001478"/>
            <a:ext cx="2652684" cy="2015340"/>
          </a:xfrm>
          <a:prstGeom prst="round2SameRect">
            <a:avLst>
              <a:gd name="adj1" fmla="val 4847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12AEDD2-68D0-78E9-30F4-DC848617AA4C}"/>
              </a:ext>
            </a:extLst>
          </p:cNvPr>
          <p:cNvSpPr txBox="1">
            <a:spLocks/>
          </p:cNvSpPr>
          <p:nvPr/>
        </p:nvSpPr>
        <p:spPr>
          <a:xfrm>
            <a:off x="834479" y="1887255"/>
            <a:ext cx="20839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1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AD4DD66-4635-80DE-3C73-B951CBA72C66}"/>
              </a:ext>
            </a:extLst>
          </p:cNvPr>
          <p:cNvSpPr txBox="1">
            <a:spLocks/>
          </p:cNvSpPr>
          <p:nvPr/>
        </p:nvSpPr>
        <p:spPr>
          <a:xfrm>
            <a:off x="834480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Lorem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ipsum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dolor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sit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amet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,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consectetur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adipiscing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elit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, sed do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eiusmod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tempor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noProof="0" dirty="0" err="1">
                <a:solidFill>
                  <a:srgbClr val="FFFFFF"/>
                </a:solidFill>
                <a:latin typeface="Pulso Light" pitchFamily="2" charset="0"/>
              </a:rPr>
              <a:t>incididunt</a:t>
            </a:r>
            <a:r>
              <a:rPr lang="es-ES_tradnl" sz="1100" b="0" spc="0" noProof="0" dirty="0">
                <a:solidFill>
                  <a:srgbClr val="FFFFFF"/>
                </a:solidFill>
                <a:latin typeface="Pulso Light" pitchFamily="2" charset="0"/>
              </a:rPr>
              <a:t>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15C270B-B859-6AFA-9D58-3F5123FF33F2}"/>
              </a:ext>
            </a:extLst>
          </p:cNvPr>
          <p:cNvSpPr txBox="1">
            <a:spLocks/>
          </p:cNvSpPr>
          <p:nvPr/>
        </p:nvSpPr>
        <p:spPr>
          <a:xfrm>
            <a:off x="834479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noProof="0" dirty="0">
                <a:solidFill>
                  <a:srgbClr val="FFFFFF"/>
                </a:solidFill>
              </a:rPr>
              <a:t>Sección </a:t>
            </a:r>
            <a:r>
              <a:rPr lang="es-ES_tradnl" sz="1400" b="0" spc="0" noProof="0" dirty="0" err="1">
                <a:solidFill>
                  <a:srgbClr val="FFFFFF"/>
                </a:solidFill>
              </a:rPr>
              <a:t>simúlada</a:t>
            </a:r>
            <a:r>
              <a:rPr lang="es-ES_tradnl" sz="1400" b="0" spc="0" noProof="0" dirty="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261FD610-EA37-6122-6827-05A5517537FF}"/>
              </a:ext>
            </a:extLst>
          </p:cNvPr>
          <p:cNvSpPr txBox="1">
            <a:spLocks/>
          </p:cNvSpPr>
          <p:nvPr/>
        </p:nvSpPr>
        <p:spPr>
          <a:xfrm>
            <a:off x="2849816" y="1887255"/>
            <a:ext cx="27732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2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D874925-7CAE-9E4C-832E-C9251F575C6D}"/>
              </a:ext>
            </a:extLst>
          </p:cNvPr>
          <p:cNvSpPr txBox="1">
            <a:spLocks/>
          </p:cNvSpPr>
          <p:nvPr/>
        </p:nvSpPr>
        <p:spPr>
          <a:xfrm>
            <a:off x="2849817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Lore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psu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dolor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s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me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consectetu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dipiscing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l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sed do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iusmod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tempo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ncididun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.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63EECC3-1B3C-9E22-1CAE-DE837363DD6A}"/>
              </a:ext>
            </a:extLst>
          </p:cNvPr>
          <p:cNvSpPr txBox="1">
            <a:spLocks/>
          </p:cNvSpPr>
          <p:nvPr/>
        </p:nvSpPr>
        <p:spPr>
          <a:xfrm>
            <a:off x="2849816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dirty="0">
                <a:solidFill>
                  <a:srgbClr val="FFFFFF"/>
                </a:solidFill>
              </a:rPr>
              <a:t>Sección </a:t>
            </a:r>
            <a:r>
              <a:rPr lang="es-ES_tradnl" sz="1400" b="0" spc="0" dirty="0" err="1">
                <a:solidFill>
                  <a:srgbClr val="FFFFFF"/>
                </a:solidFill>
              </a:rPr>
              <a:t>simúlada</a:t>
            </a:r>
            <a:r>
              <a:rPr lang="es-ES_tradnl" sz="1400" b="0" spc="0" dirty="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AEC35270-2DEE-EA71-9C99-864E0714D6ED}"/>
              </a:ext>
            </a:extLst>
          </p:cNvPr>
          <p:cNvSpPr txBox="1">
            <a:spLocks/>
          </p:cNvSpPr>
          <p:nvPr/>
        </p:nvSpPr>
        <p:spPr>
          <a:xfrm>
            <a:off x="4865144" y="1887255"/>
            <a:ext cx="27732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29D9E2A-B29D-0CA1-26CB-AF5ACCDD2783}"/>
              </a:ext>
            </a:extLst>
          </p:cNvPr>
          <p:cNvSpPr txBox="1">
            <a:spLocks/>
          </p:cNvSpPr>
          <p:nvPr/>
        </p:nvSpPr>
        <p:spPr>
          <a:xfrm>
            <a:off x="4865145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Lore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psu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dolor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s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me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consectetu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dipiscing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l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sed do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iusmod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tempo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ncididun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8B77F3C4-848D-409E-6B0E-ABEB8A7C287A}"/>
              </a:ext>
            </a:extLst>
          </p:cNvPr>
          <p:cNvSpPr txBox="1">
            <a:spLocks/>
          </p:cNvSpPr>
          <p:nvPr/>
        </p:nvSpPr>
        <p:spPr>
          <a:xfrm>
            <a:off x="4865144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dirty="0">
                <a:solidFill>
                  <a:srgbClr val="FFFFFF"/>
                </a:solidFill>
              </a:rPr>
              <a:t>Sección </a:t>
            </a:r>
            <a:r>
              <a:rPr lang="es-ES_tradnl" sz="1400" b="0" spc="0" dirty="0" err="1">
                <a:solidFill>
                  <a:srgbClr val="FFFFFF"/>
                </a:solidFill>
              </a:rPr>
              <a:t>simúlada</a:t>
            </a:r>
            <a:r>
              <a:rPr lang="es-ES_tradnl" sz="1400" b="0" spc="0" dirty="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2F8CA0E4-AD94-6385-8DAF-97BCF965E554}"/>
              </a:ext>
            </a:extLst>
          </p:cNvPr>
          <p:cNvSpPr txBox="1">
            <a:spLocks/>
          </p:cNvSpPr>
          <p:nvPr/>
        </p:nvSpPr>
        <p:spPr>
          <a:xfrm>
            <a:off x="6880477" y="1887255"/>
            <a:ext cx="290144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4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96720648-AA0F-238A-A19F-6C2CAB594B30}"/>
              </a:ext>
            </a:extLst>
          </p:cNvPr>
          <p:cNvSpPr txBox="1">
            <a:spLocks/>
          </p:cNvSpPr>
          <p:nvPr/>
        </p:nvSpPr>
        <p:spPr>
          <a:xfrm>
            <a:off x="6880478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Lore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psum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dolor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s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me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consectetu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adipiscing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li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, sed do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eiusmod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tempor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 </a:t>
            </a:r>
            <a:r>
              <a:rPr lang="es-ES_tradnl" sz="1100" b="0" spc="0" dirty="0" err="1">
                <a:solidFill>
                  <a:srgbClr val="FFFFFF"/>
                </a:solidFill>
                <a:latin typeface="Pulso Light" pitchFamily="2" charset="0"/>
              </a:rPr>
              <a:t>incididunt</a:t>
            </a:r>
            <a:r>
              <a:rPr lang="es-ES_tradnl" sz="1100" b="0" spc="0" dirty="0">
                <a:solidFill>
                  <a:srgbClr val="FFFFFF"/>
                </a:solidFill>
                <a:latin typeface="Pulso Light" pitchFamily="2" charset="0"/>
              </a:rPr>
              <a:t>.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88D8F56-8395-C29A-7366-062E9B9CD0D0}"/>
              </a:ext>
            </a:extLst>
          </p:cNvPr>
          <p:cNvSpPr txBox="1">
            <a:spLocks/>
          </p:cNvSpPr>
          <p:nvPr/>
        </p:nvSpPr>
        <p:spPr>
          <a:xfrm>
            <a:off x="6880477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dirty="0">
                <a:solidFill>
                  <a:srgbClr val="FFFFFF"/>
                </a:solidFill>
              </a:rPr>
              <a:t>Sección </a:t>
            </a:r>
            <a:r>
              <a:rPr lang="es-ES_tradnl" sz="1400" b="0" spc="0" dirty="0" err="1">
                <a:solidFill>
                  <a:srgbClr val="FFFFFF"/>
                </a:solidFill>
              </a:rPr>
              <a:t>simúlada</a:t>
            </a:r>
            <a:r>
              <a:rPr lang="es-ES_tradnl" sz="1400" b="0" spc="0" dirty="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BBC2B-94B5-3997-A467-B6471BE8A7E8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</p:spTree>
    <p:extLst>
      <p:ext uri="{BB962C8B-B14F-4D97-AF65-F5344CB8AC3E}">
        <p14:creationId xmlns:p14="http://schemas.microsoft.com/office/powerpoint/2010/main" val="405138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58DAF-5751-5D49-EA18-D4A619086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5C3A3185-CEF5-F6FB-0726-D4AA3B7DD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6044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3A3185-CEF5-F6FB-0726-D4AA3B7DD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o 24">
            <a:extLst>
              <a:ext uri="{FF2B5EF4-FFF2-40B4-BE49-F238E27FC236}">
                <a16:creationId xmlns:a16="http://schemas.microsoft.com/office/drawing/2014/main" id="{AD3CB6F5-0D23-0CC9-7E20-9FF7E25C7C1D}"/>
              </a:ext>
            </a:extLst>
          </p:cNvPr>
          <p:cNvGrpSpPr/>
          <p:nvPr/>
        </p:nvGrpSpPr>
        <p:grpSpPr>
          <a:xfrm>
            <a:off x="7596161" y="703386"/>
            <a:ext cx="1243635" cy="3848435"/>
            <a:chOff x="7596161" y="440729"/>
            <a:chExt cx="1328514" cy="4111093"/>
          </a:xfrm>
        </p:grpSpPr>
        <p:pic>
          <p:nvPicPr>
            <p:cNvPr id="22" name="Imagen 21">
              <a:extLst>
                <a:ext uri="{FF2B5EF4-FFF2-40B4-BE49-F238E27FC236}">
                  <a16:creationId xmlns:a16="http://schemas.microsoft.com/office/drawing/2014/main" id="{3296752A-AD81-DC78-6E03-312387DB2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86" r="16586"/>
            <a:stretch/>
          </p:blipFill>
          <p:spPr>
            <a:xfrm>
              <a:off x="7598645" y="1834494"/>
              <a:ext cx="1326030" cy="1325468"/>
            </a:xfrm>
            <a:prstGeom prst="roundRect">
              <a:avLst>
                <a:gd name="adj" fmla="val 5947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778B5F0F-7E08-08E7-3F96-AC60825B1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27" r="16627"/>
            <a:stretch/>
          </p:blipFill>
          <p:spPr>
            <a:xfrm>
              <a:off x="7596161" y="3226695"/>
              <a:ext cx="1326030" cy="1325127"/>
            </a:xfrm>
            <a:prstGeom prst="roundRect">
              <a:avLst>
                <a:gd name="adj" fmla="val 5948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6FE6CA87-8F41-BB4F-4F9C-5A0C04BB8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2" r="16692"/>
            <a:stretch/>
          </p:blipFill>
          <p:spPr>
            <a:xfrm>
              <a:off x="7598645" y="440729"/>
              <a:ext cx="1326030" cy="1327031"/>
            </a:xfrm>
            <a:prstGeom prst="roundRect">
              <a:avLst>
                <a:gd name="adj" fmla="val 5552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1DF39-763B-D3E1-FE9A-5DDAE49FDD10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E6F2788A-841F-E02E-CCA4-1C63C64FB7ED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9C5E6905-9721-79BA-5F0F-9AB8F0427764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645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AF547-9C1C-8B3A-AB9B-DE20281E1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8D08C3FA-0812-797F-4741-44C45BAB7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41" b="15141"/>
          <a:stretch/>
        </p:blipFill>
        <p:spPr>
          <a:xfrm>
            <a:off x="0" y="3035105"/>
            <a:ext cx="9144000" cy="2108396"/>
          </a:xfrm>
          <a:prstGeom prst="rect">
            <a:avLst/>
          </a:prstGeom>
        </p:spPr>
      </p:pic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BB7C321E-E3D0-8790-3BCA-1B29CA777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82574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9" progId="TCLayout.ActiveDocument.1">
                  <p:embed/>
                </p:oleObj>
              </mc:Choice>
              <mc:Fallback>
                <p:oleObj name="Diapositiva de think-cell" r:id="rId5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7C321E-E3D0-8790-3BCA-1B29CA777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37F912B1-993F-375F-1743-36AC88B28A91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5" name="Gráfico 3">
            <a:extLst>
              <a:ext uri="{FF2B5EF4-FFF2-40B4-BE49-F238E27FC236}">
                <a16:creationId xmlns:a16="http://schemas.microsoft.com/office/drawing/2014/main" id="{6903C038-418D-756A-8EDC-FC643459A44C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A64327AE-3105-068D-BFCC-EC63CA368B85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B39649B2-FD36-54DC-5A15-D10BC9E540C7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6F30E710-A0E6-2307-5FB2-11B767AE4E9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4E6B93B4-A8AC-B2BC-18E2-0B14A4535E42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EB07636C-A986-E301-F11C-AD9EE373A7C8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85FE9828-9CD9-2EE7-8673-8E10563969A7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4A774FE5-07AB-B999-A1DA-3C17DCC3F61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6A628CFF-D213-89D9-6674-9776C5C6963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7068278-7D12-CC3E-F0BA-A94E6AC80CF7}"/>
              </a:ext>
            </a:extLst>
          </p:cNvPr>
          <p:cNvSpPr/>
          <p:nvPr/>
        </p:nvSpPr>
        <p:spPr>
          <a:xfrm>
            <a:off x="257485" y="4831799"/>
            <a:ext cx="11140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  <a:endParaRPr lang="es-ES_tradnl" sz="800" b="1" i="0" spc="-7" noProof="0" dirty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17" name="Marcador de texto 8">
            <a:extLst>
              <a:ext uri="{FF2B5EF4-FFF2-40B4-BE49-F238E27FC236}">
                <a16:creationId xmlns:a16="http://schemas.microsoft.com/office/drawing/2014/main" id="{A605B408-0E09-9202-47F5-DB789D4CB94E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134927" cy="7979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5FE7909-42C8-9CDA-4F86-79E01A9CDE6F}"/>
              </a:ext>
            </a:extLst>
          </p:cNvPr>
          <p:cNvSpPr txBox="1">
            <a:spLocks/>
          </p:cNvSpPr>
          <p:nvPr/>
        </p:nvSpPr>
        <p:spPr>
          <a:xfrm>
            <a:off x="540657" y="681107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noProof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</p:spTree>
    <p:extLst>
      <p:ext uri="{BB962C8B-B14F-4D97-AF65-F5344CB8AC3E}">
        <p14:creationId xmlns:p14="http://schemas.microsoft.com/office/powerpoint/2010/main" val="235066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86EDFE-4F06-C59F-DBA5-045ABAEC6803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1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AC441ED0-A4E4-A17F-9ACA-4790E6502D39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7108CCF7-0E74-07DB-9969-372DAAB18088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CC5F253E-D079-C870-8F91-E6DE615F5D02}"/>
              </a:ext>
            </a:extLst>
          </p:cNvPr>
          <p:cNvSpPr>
            <a:spLocks/>
          </p:cNvSpPr>
          <p:nvPr/>
        </p:nvSpPr>
        <p:spPr>
          <a:xfrm>
            <a:off x="6063010" y="1547720"/>
            <a:ext cx="2445638" cy="2958388"/>
          </a:xfrm>
          <a:prstGeom prst="roundRect">
            <a:avLst>
              <a:gd name="adj" fmla="val 2825"/>
            </a:avLst>
          </a:prstGeom>
          <a:solidFill>
            <a:schemeClr val="bg1">
              <a:lumMod val="10000"/>
            </a:schemeClr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F2E5E60D-9A0F-81B7-1A81-EE7CCEB7D7D2}"/>
              </a:ext>
            </a:extLst>
          </p:cNvPr>
          <p:cNvSpPr txBox="1">
            <a:spLocks/>
          </p:cNvSpPr>
          <p:nvPr/>
        </p:nvSpPr>
        <p:spPr>
          <a:xfrm>
            <a:off x="6262577" y="1801835"/>
            <a:ext cx="2062716" cy="250280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0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0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.</a:t>
            </a:r>
          </a:p>
        </p:txBody>
      </p:sp>
    </p:spTree>
    <p:extLst>
      <p:ext uri="{BB962C8B-B14F-4D97-AF65-F5344CB8AC3E}">
        <p14:creationId xmlns:p14="http://schemas.microsoft.com/office/powerpoint/2010/main" val="85993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85BDB7-80D3-B72D-9761-659B5422C0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Imagen 47">
            <a:extLst>
              <a:ext uri="{FF2B5EF4-FFF2-40B4-BE49-F238E27FC236}">
                <a16:creationId xmlns:a16="http://schemas.microsoft.com/office/drawing/2014/main" id="{A91D0A3E-3FEE-AF17-B196-2927DCE060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3640" y="0"/>
            <a:ext cx="2880360" cy="5143500"/>
          </a:xfrm>
          <a:prstGeom prst="rect">
            <a:avLst/>
          </a:prstGeom>
        </p:spPr>
      </p:pic>
      <p:sp>
        <p:nvSpPr>
          <p:cNvPr id="50" name="Rectángulo redondeado 49">
            <a:extLst>
              <a:ext uri="{FF2B5EF4-FFF2-40B4-BE49-F238E27FC236}">
                <a16:creationId xmlns:a16="http://schemas.microsoft.com/office/drawing/2014/main" id="{64C2364D-2DB5-9EA2-398F-04312978A4EB}"/>
              </a:ext>
            </a:extLst>
          </p:cNvPr>
          <p:cNvSpPr/>
          <p:nvPr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52" name="Gráfico 3">
            <a:extLst>
              <a:ext uri="{FF2B5EF4-FFF2-40B4-BE49-F238E27FC236}">
                <a16:creationId xmlns:a16="http://schemas.microsoft.com/office/drawing/2014/main" id="{24726E9A-1DE6-C44D-D931-325CD25059D6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53" name="Forma libre 52">
              <a:extLst>
                <a:ext uri="{FF2B5EF4-FFF2-40B4-BE49-F238E27FC236}">
                  <a16:creationId xmlns:a16="http://schemas.microsoft.com/office/drawing/2014/main" id="{51285AD0-0D67-3252-6976-F37E5775145E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4" name="Forma libre 53">
              <a:extLst>
                <a:ext uri="{FF2B5EF4-FFF2-40B4-BE49-F238E27FC236}">
                  <a16:creationId xmlns:a16="http://schemas.microsoft.com/office/drawing/2014/main" id="{3E197C89-7110-DAC6-75BE-09D1F05F3960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5" name="Forma libre 54">
              <a:extLst>
                <a:ext uri="{FF2B5EF4-FFF2-40B4-BE49-F238E27FC236}">
                  <a16:creationId xmlns:a16="http://schemas.microsoft.com/office/drawing/2014/main" id="{EBABA253-6B39-704D-E458-B05ABED5328D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6" name="Forma libre 55">
              <a:extLst>
                <a:ext uri="{FF2B5EF4-FFF2-40B4-BE49-F238E27FC236}">
                  <a16:creationId xmlns:a16="http://schemas.microsoft.com/office/drawing/2014/main" id="{A234ADF7-8047-F49C-0C57-775F6D2575E3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" name="Forma libre 56">
              <a:extLst>
                <a:ext uri="{FF2B5EF4-FFF2-40B4-BE49-F238E27FC236}">
                  <a16:creationId xmlns:a16="http://schemas.microsoft.com/office/drawing/2014/main" id="{BD504FF6-A27C-4CE9-C047-E4955008E11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8" name="Forma libre 57">
              <a:extLst>
                <a:ext uri="{FF2B5EF4-FFF2-40B4-BE49-F238E27FC236}">
                  <a16:creationId xmlns:a16="http://schemas.microsoft.com/office/drawing/2014/main" id="{1E2A5B65-97F5-146F-A8DA-E7C5E32592EF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9" name="Forma libre 58">
              <a:extLst>
                <a:ext uri="{FF2B5EF4-FFF2-40B4-BE49-F238E27FC236}">
                  <a16:creationId xmlns:a16="http://schemas.microsoft.com/office/drawing/2014/main" id="{F09B899A-4F3B-2F02-056E-7988BEB53CD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0" name="Forma libre 59">
              <a:extLst>
                <a:ext uri="{FF2B5EF4-FFF2-40B4-BE49-F238E27FC236}">
                  <a16:creationId xmlns:a16="http://schemas.microsoft.com/office/drawing/2014/main" id="{2701BDEF-229E-95C3-AAC8-8B4C2C4B6980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61" name="Rectángulo 60">
            <a:extLst>
              <a:ext uri="{FF2B5EF4-FFF2-40B4-BE49-F238E27FC236}">
                <a16:creationId xmlns:a16="http://schemas.microsoft.com/office/drawing/2014/main" id="{E74D8415-CE4A-20A7-6801-8B4FDD8DBCB0}"/>
              </a:ext>
            </a:extLst>
          </p:cNvPr>
          <p:cNvSpPr/>
          <p:nvPr/>
        </p:nvSpPr>
        <p:spPr>
          <a:xfrm>
            <a:off x="257485" y="4831799"/>
            <a:ext cx="11140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Título de la presentación</a:t>
            </a:r>
            <a:endParaRPr lang="es-ES_tradnl" sz="800" b="1" i="0" spc="-7" noProof="0" dirty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0E78E61-A74A-81E4-6C95-5845F08E1406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2DCBAA25-212F-230A-A494-7DB789496583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7804D06F-DCF4-F382-02E8-755E75C8351C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1040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F3D42-47C4-CF40-C3AC-03079951CE85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82A6B0B0-278E-C3B6-9F86-6E2BCC99FFB1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1CF230BB-2F09-6641-55C5-BB15459004C9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657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5C600-EC3F-81DC-32A9-BA98A33360B4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BCF03DD4-B2BC-F485-384C-F2A0BBBE5BAF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2A2D086A-7D76-0528-6911-7A386BC27870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461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D8715-99C6-F72D-9D74-847E061AB177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4D10772E-B4FB-C9E4-B364-E55ED0F50386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F03494AA-A0F8-D180-B710-A7173A1A3C9C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965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C63EC0-0518-359C-0FBA-FE07DF211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6706558B-44FA-A70D-9B39-98E8B10E6EF9}"/>
              </a:ext>
            </a:extLst>
          </p:cNvPr>
          <p:cNvSpPr/>
          <p:nvPr/>
        </p:nvSpPr>
        <p:spPr>
          <a:xfrm flipV="1">
            <a:off x="1" y="3165633"/>
            <a:ext cx="9144000" cy="1977867"/>
          </a:xfrm>
          <a:prstGeom prst="rect">
            <a:avLst/>
          </a:prstGeom>
          <a:gradFill>
            <a:gsLst>
              <a:gs pos="60000">
                <a:schemeClr val="bg2">
                  <a:alpha val="0"/>
                </a:schemeClr>
              </a:gs>
              <a:gs pos="0">
                <a:schemeClr val="bg2">
                  <a:alpha val="24648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AR"/>
          </a:p>
        </p:txBody>
      </p:sp>
      <p:sp>
        <p:nvSpPr>
          <p:cNvPr id="39" name="Rectángulo redondeado 38">
            <a:extLst>
              <a:ext uri="{FF2B5EF4-FFF2-40B4-BE49-F238E27FC236}">
                <a16:creationId xmlns:a16="http://schemas.microsoft.com/office/drawing/2014/main" id="{FBDD4D99-12CA-8F80-710A-0E5044A771AC}"/>
              </a:ext>
            </a:extLst>
          </p:cNvPr>
          <p:cNvSpPr/>
          <p:nvPr/>
        </p:nvSpPr>
        <p:spPr>
          <a:xfrm>
            <a:off x="5913266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ectángulo redondeado 39">
            <a:extLst>
              <a:ext uri="{FF2B5EF4-FFF2-40B4-BE49-F238E27FC236}">
                <a16:creationId xmlns:a16="http://schemas.microsoft.com/office/drawing/2014/main" id="{760F62A1-A64E-A2C2-46DE-DA197DB42AC2}"/>
              </a:ext>
            </a:extLst>
          </p:cNvPr>
          <p:cNvSpPr/>
          <p:nvPr/>
        </p:nvSpPr>
        <p:spPr>
          <a:xfrm>
            <a:off x="5913266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6E2AB9AE-1F4D-B800-5B1B-CC4371AA50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2358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23" name="Rectángulo redondeado 22">
            <a:extLst>
              <a:ext uri="{FF2B5EF4-FFF2-40B4-BE49-F238E27FC236}">
                <a16:creationId xmlns:a16="http://schemas.microsoft.com/office/drawing/2014/main" id="{E202F7A8-46A0-CEDC-5E06-41FA93EBF6BA}"/>
              </a:ext>
            </a:extLst>
          </p:cNvPr>
          <p:cNvSpPr/>
          <p:nvPr/>
        </p:nvSpPr>
        <p:spPr>
          <a:xfrm>
            <a:off x="3434761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B8AB3A7B-FC48-0224-F03F-F75E4FA154FD}"/>
              </a:ext>
            </a:extLst>
          </p:cNvPr>
          <p:cNvSpPr/>
          <p:nvPr/>
        </p:nvSpPr>
        <p:spPr>
          <a:xfrm>
            <a:off x="3434761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AE59DB2-ABAC-1015-6EF3-E7884E8B4B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33853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52" name="Rectángulo 51">
            <a:extLst>
              <a:ext uri="{FF2B5EF4-FFF2-40B4-BE49-F238E27FC236}">
                <a16:creationId xmlns:a16="http://schemas.microsoft.com/office/drawing/2014/main" id="{0D07D6E3-9A4C-361C-00CF-67F5B83CD54D}"/>
              </a:ext>
            </a:extLst>
          </p:cNvPr>
          <p:cNvSpPr/>
          <p:nvPr/>
        </p:nvSpPr>
        <p:spPr>
          <a:xfrm>
            <a:off x="4004024" y="889597"/>
            <a:ext cx="1135953" cy="3139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2400" b="1" spc="-7" noProof="0" dirty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Agenda</a:t>
            </a:r>
            <a:endParaRPr lang="es-ES_tradnl" sz="2400" b="1" spc="-7" noProof="0" dirty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grpSp>
        <p:nvGrpSpPr>
          <p:cNvPr id="30" name="Gráfico 3">
            <a:extLst>
              <a:ext uri="{FF2B5EF4-FFF2-40B4-BE49-F238E27FC236}">
                <a16:creationId xmlns:a16="http://schemas.microsoft.com/office/drawing/2014/main" id="{C62D2AD5-4BAE-95E6-BF42-F522F7524EB2}"/>
              </a:ext>
            </a:extLst>
          </p:cNvPr>
          <p:cNvGrpSpPr/>
          <p:nvPr/>
        </p:nvGrpSpPr>
        <p:grpSpPr>
          <a:xfrm>
            <a:off x="4100452" y="351882"/>
            <a:ext cx="943095" cy="2163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D11288A-D841-8D10-7850-F86E1A9336AA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0BB7759C-4DB1-57CD-3DA9-3676CD1593CC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5176641-F0B6-D66D-6220-B7CB3F00FB4B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A66E98B0-EE8C-CB4D-FFF2-6D929E9BAE68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496672AE-8DA9-4398-D19A-7EEB87CB3A99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F7A9578C-3322-B171-018A-C68B315432A1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CE3DEDBB-2383-4C90-A8ED-DFBC9B541C7C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F1EEFE23-6939-AB44-317B-76D42AB65682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</p:grp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6A39F1D5-C1A3-4A64-BA5F-78712F99B273}"/>
              </a:ext>
            </a:extLst>
          </p:cNvPr>
          <p:cNvSpPr/>
          <p:nvPr/>
        </p:nvSpPr>
        <p:spPr>
          <a:xfrm>
            <a:off x="956256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7BFE640E-095E-C0EC-1288-294E6E0187F9}"/>
              </a:ext>
            </a:extLst>
          </p:cNvPr>
          <p:cNvSpPr/>
          <p:nvPr/>
        </p:nvSpPr>
        <p:spPr>
          <a:xfrm>
            <a:off x="956256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8EC4DCE-052F-BCB8-4DD0-21F2F47DA22E}"/>
              </a:ext>
            </a:extLst>
          </p:cNvPr>
          <p:cNvSpPr/>
          <p:nvPr/>
        </p:nvSpPr>
        <p:spPr>
          <a:xfrm>
            <a:off x="3533853" y="3824816"/>
            <a:ext cx="2076295" cy="4712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</a:t>
            </a:r>
            <a:br>
              <a:rPr lang="es-ES_tradnl" sz="18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s-ES_tradnl" sz="1800" spc="-7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2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6D84AF9-7EFD-8084-702C-9172F49F4C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48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0A174785-93B5-03E1-25A8-6ACED884F932}"/>
              </a:ext>
            </a:extLst>
          </p:cNvPr>
          <p:cNvSpPr/>
          <p:nvPr/>
        </p:nvSpPr>
        <p:spPr>
          <a:xfrm>
            <a:off x="1055347" y="3824816"/>
            <a:ext cx="2076295" cy="4712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</a:t>
            </a:r>
            <a:br>
              <a:rPr lang="es-ES_tradnl" sz="180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s-ES_tradnl" sz="1800" spc="-7" noProof="0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1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86C698B-08BD-DEDA-56F4-AC996347E0F2}"/>
              </a:ext>
            </a:extLst>
          </p:cNvPr>
          <p:cNvSpPr/>
          <p:nvPr/>
        </p:nvSpPr>
        <p:spPr>
          <a:xfrm>
            <a:off x="6012357" y="3824816"/>
            <a:ext cx="2076295" cy="4712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</a:t>
            </a:r>
            <a:br>
              <a:rPr lang="es-ES_tradnl" sz="18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s-ES_tradnl" sz="1800" spc="-7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3</a:t>
            </a:r>
          </a:p>
        </p:txBody>
      </p:sp>
    </p:spTree>
    <p:extLst>
      <p:ext uri="{BB962C8B-B14F-4D97-AF65-F5344CB8AC3E}">
        <p14:creationId xmlns:p14="http://schemas.microsoft.com/office/powerpoint/2010/main" val="151355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2D1F6-2E39-7DCA-6598-7279FDF17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1F42FA-463F-F7FA-6354-8A5CE4EB6B1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1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C5E72725-F79F-710A-3CE9-C9287C5EEEB6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48B65FD2-3FD0-6009-9B3F-0D731DC3FDA4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0448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5876F-710F-B510-A8DE-11AF93478B89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1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9B048D75-FAB4-F9F0-E55F-42C87DE10A7C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A93DEB14-0E11-DFE6-9784-E6DF2CF58FCF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553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EB5DB-3512-BCCA-7048-95C7C5F0B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A932C-4B86-E9EF-3C6E-1B2732A0048B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1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9E487B9D-9244-806A-B546-08F67CF3C8C0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4D39B079-CD54-BF39-A07C-6182E1076A59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299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AE907-ADCC-7CA0-B74F-CFEB45E224C7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1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78C81A10-9334-0FC1-4600-DBAB5D45AD89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30CBF310-44E3-4A96-81A8-65280ADB7968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92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1207E-D17C-BDCD-B0E1-DFCF760A7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EAEDFB95-4874-9D65-F19E-F5055D524402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0F18C34E-3BFA-71D7-5927-AB21B2600974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4FC10004-972F-5917-70F4-5520C66C4B15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95FD06ED-8C37-3398-6D93-5C63FA5B4B64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02DFA7A4-01A4-3D13-DD94-0963F4C460AE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6234F8EB-E8E0-73DF-12E8-DD97F68578D8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760F776A-D03A-472B-4509-DF694CCF60B1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DBBE5AC0-4D2E-E903-F321-F5FB90A4364F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19FAE086-DBF6-4C92-6FA6-BD10525F94D3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B3721E5D-C242-4878-4804-E744FE513DE9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F4884B99-2F82-7BF5-489C-955B7ABDC3A3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556178A2-422E-F495-982A-63A84AE273F4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9EC5C5D2-F023-9CDA-CCD0-B7BFF6A37DBD}"/>
                </a:ext>
              </a:extLst>
            </p:cNvPr>
            <p:cNvSpPr/>
            <p:nvPr/>
          </p:nvSpPr>
          <p:spPr>
            <a:xfrm>
              <a:off x="257485" y="4831799"/>
              <a:ext cx="11140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  <a:endParaRPr lang="es-ES_tradnl" sz="800" b="1" i="0" spc="-7" noProof="0" dirty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id="{899C662E-D05D-6485-23A5-7E82E7B2B2DC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E75C0372-75BD-E0E7-ABC8-ADFBB921A4AC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1332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58DAF-5751-5D49-EA18-D4A619086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5C3A3185-CEF5-F6FB-0726-D4AA3B7DD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3A3185-CEF5-F6FB-0726-D4AA3B7DD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E1DF39-763B-D3E1-FE9A-5DDAE49FDD10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E6F2788A-841F-E02E-CCA4-1C63C64FB7ED}"/>
              </a:ext>
            </a:extLst>
          </p:cNvPr>
          <p:cNvSpPr txBox="1">
            <a:spLocks/>
          </p:cNvSpPr>
          <p:nvPr/>
        </p:nvSpPr>
        <p:spPr>
          <a:xfrm>
            <a:off x="540657" y="1609115"/>
            <a:ext cx="4388531" cy="63331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9C5E6905-9721-79BA-5F0F-9AB8F0427764}"/>
              </a:ext>
            </a:extLst>
          </p:cNvPr>
          <p:cNvSpPr txBox="1">
            <a:spLocks/>
          </p:cNvSpPr>
          <p:nvPr/>
        </p:nvSpPr>
        <p:spPr>
          <a:xfrm>
            <a:off x="540657" y="2512799"/>
            <a:ext cx="4134927" cy="16489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quis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ostru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ercitation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llamco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isi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ip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commo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qu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uis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u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ru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reprehender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oluptat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s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ill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u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gi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null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aria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xcepte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ccaec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upidata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non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roide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unt in culpa qui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fici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eser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ol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i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s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abor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68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E33A85F7-5346-70DB-8E51-651AD652755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713DAAA6-E6EF-9C87-54A1-4D3D4C94ECFC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E09684E9-3D5C-C7DE-35C7-D1479A11384B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A72D9E3B-2E04-54C6-6D67-852564B6B8D0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C3A9F321-F0F3-48F8-66CF-F1F813933497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31A42534-5563-1A98-F74E-05736548F66A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DA3014BA-1E9F-D981-AB8A-7C8440EDFF44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A555803E-D3A2-04F2-F9CE-EF474AE83D99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4B7A2704-145C-9B5A-CA8A-5E3BA81699AA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78199B29-D9F5-4BCE-89A0-3FA75EA3B476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C8AA15A7-42E7-A4DD-3F55-5577012821DC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EC7D07F7-0393-8726-58A6-1677CA161A75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4324A054-F28C-C57E-A28E-05924E190FDF}"/>
                </a:ext>
              </a:extLst>
            </p:cNvPr>
            <p:cNvSpPr/>
            <p:nvPr/>
          </p:nvSpPr>
          <p:spPr>
            <a:xfrm>
              <a:off x="257485" y="4831799"/>
              <a:ext cx="1114088" cy="10483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FB13582E-64DF-944E-B0F2-FF257E34CD79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7193BC08-1FB7-3653-FF9D-D4A9D1F244B5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7806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CB9C4A-7890-DAE6-1AFA-0569DFAC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E2FE6BF2-3474-0342-10A4-B25CC0C45F48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8D4E1F2-7D97-E246-116D-DB21D6598932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82A09714-AB50-2385-670A-75C293DC2FAF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FAC62057-A6E0-84F4-C41D-721C28DC6876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5" name="Rectángulo redondeado 4">
              <a:extLst>
                <a:ext uri="{FF2B5EF4-FFF2-40B4-BE49-F238E27FC236}">
                  <a16:creationId xmlns:a16="http://schemas.microsoft.com/office/drawing/2014/main" id="{2BA46FA0-ACD5-6B1B-A215-126B667CB4CA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6" name="Gráfico 3">
              <a:extLst>
                <a:ext uri="{FF2B5EF4-FFF2-40B4-BE49-F238E27FC236}">
                  <a16:creationId xmlns:a16="http://schemas.microsoft.com/office/drawing/2014/main" id="{7C5B6576-1F33-4263-8C2F-49172AF2B756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8" name="Forma libre 7">
                <a:extLst>
                  <a:ext uri="{FF2B5EF4-FFF2-40B4-BE49-F238E27FC236}">
                    <a16:creationId xmlns:a16="http://schemas.microsoft.com/office/drawing/2014/main" id="{18D6963F-9FCD-F3BC-5900-C659EE5AD07C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264DF7F3-4DBA-1BF1-F90C-2E92C235C703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B3BEB1AC-445B-8B59-112F-126D4CB8568A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60F76A06-3E71-1847-857C-03AD2E5BA205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F6A32523-509D-138C-F125-F8F26047F311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" name="Forma libre 12">
                <a:extLst>
                  <a:ext uri="{FF2B5EF4-FFF2-40B4-BE49-F238E27FC236}">
                    <a16:creationId xmlns:a16="http://schemas.microsoft.com/office/drawing/2014/main" id="{7004F149-AA74-25F9-AD18-92ECF19508B1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4" name="Forma libre 13">
                <a:extLst>
                  <a:ext uri="{FF2B5EF4-FFF2-40B4-BE49-F238E27FC236}">
                    <a16:creationId xmlns:a16="http://schemas.microsoft.com/office/drawing/2014/main" id="{72FE1C00-60EC-F2BD-20D3-475320FCDB21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5" name="Forma libre 14">
                <a:extLst>
                  <a:ext uri="{FF2B5EF4-FFF2-40B4-BE49-F238E27FC236}">
                    <a16:creationId xmlns:a16="http://schemas.microsoft.com/office/drawing/2014/main" id="{5BDE64FF-780F-FF00-2828-DFE10F39EADE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CD87872A-82D8-E679-42B8-BB7420B2DE3C}"/>
                </a:ext>
              </a:extLst>
            </p:cNvPr>
            <p:cNvSpPr/>
            <p:nvPr/>
          </p:nvSpPr>
          <p:spPr>
            <a:xfrm>
              <a:off x="257485" y="4831799"/>
              <a:ext cx="1114088" cy="10483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094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BF523-A104-BCCA-6171-F992EA2E3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BDCD1F5A-E55A-4A7E-8277-CFE1587D2F8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D55BC21-F6A6-15CB-2D9E-68305CE0B3AA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13" name="Marcador de texto 8">
            <a:extLst>
              <a:ext uri="{FF2B5EF4-FFF2-40B4-BE49-F238E27FC236}">
                <a16:creationId xmlns:a16="http://schemas.microsoft.com/office/drawing/2014/main" id="{C976065F-9AD2-9C2B-CC23-0960815367CF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5E1853E3-7D08-AE7D-FD6D-12AE092AD892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15" name="Rectángulo redondeado 14">
              <a:extLst>
                <a:ext uri="{FF2B5EF4-FFF2-40B4-BE49-F238E27FC236}">
                  <a16:creationId xmlns:a16="http://schemas.microsoft.com/office/drawing/2014/main" id="{4117A6BE-8BBA-2A27-7FE6-85C8C280D343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16" name="Gráfico 3">
              <a:extLst>
                <a:ext uri="{FF2B5EF4-FFF2-40B4-BE49-F238E27FC236}">
                  <a16:creationId xmlns:a16="http://schemas.microsoft.com/office/drawing/2014/main" id="{E0865944-4222-8638-D190-865D5DB78FDD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18" name="Forma libre 17">
                <a:extLst>
                  <a:ext uri="{FF2B5EF4-FFF2-40B4-BE49-F238E27FC236}">
                    <a16:creationId xmlns:a16="http://schemas.microsoft.com/office/drawing/2014/main" id="{751F1B32-A1BF-6A59-6D73-9A34CD3BE683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A76206C4-718B-F093-F140-288C19B1C277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D977AAA6-BEFF-B6C9-ED55-70195EA77894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1" name="Forma libre 20">
                <a:extLst>
                  <a:ext uri="{FF2B5EF4-FFF2-40B4-BE49-F238E27FC236}">
                    <a16:creationId xmlns:a16="http://schemas.microsoft.com/office/drawing/2014/main" id="{A1ECF7F5-DD8D-9184-2A3A-27FDD8C964F7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3" name="Forma libre 22">
                <a:extLst>
                  <a:ext uri="{FF2B5EF4-FFF2-40B4-BE49-F238E27FC236}">
                    <a16:creationId xmlns:a16="http://schemas.microsoft.com/office/drawing/2014/main" id="{0C77510B-ECBC-21BF-C23D-12CD33E1B5ED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4" name="Forma libre 23">
                <a:extLst>
                  <a:ext uri="{FF2B5EF4-FFF2-40B4-BE49-F238E27FC236}">
                    <a16:creationId xmlns:a16="http://schemas.microsoft.com/office/drawing/2014/main" id="{FC4ECA1E-1B6B-3E27-B40C-ED525D1D36A3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5" name="Forma libre 24">
                <a:extLst>
                  <a:ext uri="{FF2B5EF4-FFF2-40B4-BE49-F238E27FC236}">
                    <a16:creationId xmlns:a16="http://schemas.microsoft.com/office/drawing/2014/main" id="{0810C875-D8A7-41AB-A43A-E173BD846B00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6" name="Forma libre 25">
                <a:extLst>
                  <a:ext uri="{FF2B5EF4-FFF2-40B4-BE49-F238E27FC236}">
                    <a16:creationId xmlns:a16="http://schemas.microsoft.com/office/drawing/2014/main" id="{210C57F5-A375-5A63-F9F9-D427B038BA8C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B1A86C89-4955-12F3-B745-D0874D89D799}"/>
                </a:ext>
              </a:extLst>
            </p:cNvPr>
            <p:cNvSpPr/>
            <p:nvPr/>
          </p:nvSpPr>
          <p:spPr>
            <a:xfrm>
              <a:off x="257485" y="4831799"/>
              <a:ext cx="1114088" cy="10483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831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29E08-C717-F4AE-BD36-CAE37AADF4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40C461EB-00C9-56E6-82B3-FD0E56B121EC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C1C3BD7-B19E-9E43-A1E9-EB0572A08477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DEE6169E-E0DF-CE77-320B-A986575F3A75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8075774B-5DB2-6102-23F8-F83CB9F21AEF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17" name="Rectángulo redondeado 16">
              <a:extLst>
                <a:ext uri="{FF2B5EF4-FFF2-40B4-BE49-F238E27FC236}">
                  <a16:creationId xmlns:a16="http://schemas.microsoft.com/office/drawing/2014/main" id="{664AB3BD-194E-83FE-6568-02575DC61CDB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18" name="Gráfico 3">
              <a:extLst>
                <a:ext uri="{FF2B5EF4-FFF2-40B4-BE49-F238E27FC236}">
                  <a16:creationId xmlns:a16="http://schemas.microsoft.com/office/drawing/2014/main" id="{CE1AF201-9A85-022A-95FC-15343A8F753D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77BE8AC8-2D70-9742-DA22-FDDA8DD90511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1" name="Forma libre 20">
                <a:extLst>
                  <a:ext uri="{FF2B5EF4-FFF2-40B4-BE49-F238E27FC236}">
                    <a16:creationId xmlns:a16="http://schemas.microsoft.com/office/drawing/2014/main" id="{51B082D0-BB2A-F423-5922-FF5724B783CE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2" name="Forma libre 21">
                <a:extLst>
                  <a:ext uri="{FF2B5EF4-FFF2-40B4-BE49-F238E27FC236}">
                    <a16:creationId xmlns:a16="http://schemas.microsoft.com/office/drawing/2014/main" id="{76EA5E5C-0BE4-B14B-475B-B073C4E6E03A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4" name="Forma libre 23">
                <a:extLst>
                  <a:ext uri="{FF2B5EF4-FFF2-40B4-BE49-F238E27FC236}">
                    <a16:creationId xmlns:a16="http://schemas.microsoft.com/office/drawing/2014/main" id="{967636E5-1A25-508E-4F86-98F0C76E3DAA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5" name="Forma libre 24">
                <a:extLst>
                  <a:ext uri="{FF2B5EF4-FFF2-40B4-BE49-F238E27FC236}">
                    <a16:creationId xmlns:a16="http://schemas.microsoft.com/office/drawing/2014/main" id="{82105B63-54DD-1D92-9C73-B69ACDF31F5F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6" name="Forma libre 25">
                <a:extLst>
                  <a:ext uri="{FF2B5EF4-FFF2-40B4-BE49-F238E27FC236}">
                    <a16:creationId xmlns:a16="http://schemas.microsoft.com/office/drawing/2014/main" id="{A0219802-3857-A730-A696-B43719FE2CF3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7" name="Forma libre 26">
                <a:extLst>
                  <a:ext uri="{FF2B5EF4-FFF2-40B4-BE49-F238E27FC236}">
                    <a16:creationId xmlns:a16="http://schemas.microsoft.com/office/drawing/2014/main" id="{447B6BDF-CA3F-CC14-5A15-5E4E64BD1B7F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8" name="Forma libre 27">
                <a:extLst>
                  <a:ext uri="{FF2B5EF4-FFF2-40B4-BE49-F238E27FC236}">
                    <a16:creationId xmlns:a16="http://schemas.microsoft.com/office/drawing/2014/main" id="{3A2DB36E-A5DA-255D-0090-DF3BB8B45F41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99C67A6B-93D7-1E0B-150B-D0120955759A}"/>
                </a:ext>
              </a:extLst>
            </p:cNvPr>
            <p:cNvSpPr/>
            <p:nvPr/>
          </p:nvSpPr>
          <p:spPr>
            <a:xfrm>
              <a:off x="257485" y="4831799"/>
              <a:ext cx="1114088" cy="10483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399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5115F-E234-D121-44BE-C9FF906B2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FD751FF3-C9C3-8667-1B21-6C1B4B8CF9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40A2EE4-7E74-4757-BC77-5C98EFD9A651}"/>
              </a:ext>
            </a:extLst>
          </p:cNvPr>
          <p:cNvSpPr/>
          <p:nvPr/>
        </p:nvSpPr>
        <p:spPr>
          <a:xfrm>
            <a:off x="606581" y="3026815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</a:t>
            </a:r>
            <a:r>
              <a:rPr lang="es-ES_tradnl" sz="4400" spc="-7" noProof="0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1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99220AE8-735B-2941-F35C-E42826728D0B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506EFEC5-8752-F0BB-C475-B2E137A524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_tradnl" sz="700" noProof="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4B389131-76C1-8FD8-5C6A-8E3A21A68762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noProof="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CC56E096-0421-5D8C-BABF-FB72726DECFF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6AAE599C-C1DD-482F-7B82-CC8C1695BC49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 noProof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107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0FDDE-8D91-C427-7843-975EC40F4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DEF26C85-D7AA-5785-9FF6-4468B8EE800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15DE3913-62E1-02EE-20F7-7E10380EA06F}"/>
              </a:ext>
            </a:extLst>
          </p:cNvPr>
          <p:cNvSpPr/>
          <p:nvPr/>
        </p:nvSpPr>
        <p:spPr>
          <a:xfrm>
            <a:off x="508883" y="704103"/>
            <a:ext cx="3644135" cy="718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ste bloque es para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una sección especial</a:t>
            </a:r>
            <a:endParaRPr lang="en-US" sz="2500" b="0" i="0" spc="-60" noProof="1">
              <a:solidFill>
                <a:schemeClr val="bg2"/>
              </a:solidFill>
              <a:latin typeface="Pulso" pitchFamily="2" charset="0"/>
              <a:ea typeface="Inter Light BETA" panose="020B0402030000000004" pitchFamily="34" charset="0"/>
            </a:endParaRP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776F3CE6-8525-D4CC-AB23-0D21E5BC2E4A}"/>
              </a:ext>
            </a:extLst>
          </p:cNvPr>
          <p:cNvSpPr txBox="1">
            <a:spLocks/>
          </p:cNvSpPr>
          <p:nvPr/>
        </p:nvSpPr>
        <p:spPr>
          <a:xfrm>
            <a:off x="508883" y="1679355"/>
            <a:ext cx="4363210" cy="25940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ore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ps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me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cte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dipiscing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lit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Sed 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iusmo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tempo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ncidid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ut labore e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Ut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a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i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niam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Quis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ostrud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ercitation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ullamco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isi</a:t>
            </a:r>
            <a:endParaRPr lang="es-AR" sz="1200" spc="-15" dirty="0">
              <a:latin typeface="Pulso Light" pitchFamily="2" charset="0"/>
              <a:ea typeface="Open Sans Light"/>
              <a:cs typeface="Open Sans Ligh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liquip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ex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commodo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onsequ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uis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u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iru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dolor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reprehender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oluptat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ve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s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ill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olore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u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fugi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null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ariat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xcepteur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si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ccaec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cupidata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non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proide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, sunt in qui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officia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deserun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molli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ani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id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est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 </a:t>
            </a:r>
            <a:r>
              <a:rPr lang="es-AR" sz="1200" spc="-15" dirty="0" err="1">
                <a:latin typeface="Pulso Light" pitchFamily="2" charset="0"/>
                <a:ea typeface="Open Sans Light"/>
                <a:cs typeface="Open Sans Light"/>
              </a:rPr>
              <a:t>laborum</a:t>
            </a:r>
            <a:r>
              <a:rPr lang="es-AR" sz="1200" spc="-15" dirty="0">
                <a:latin typeface="Pulso Light" pitchFamily="2" charset="0"/>
                <a:ea typeface="Open Sans Light"/>
                <a:cs typeface="Open Sans Light"/>
              </a:rPr>
              <a:t>.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0BEFE29C-7B7C-1CB2-0436-367AB8D1BBAC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5" name="Rectángulo redondeado 4">
              <a:extLst>
                <a:ext uri="{FF2B5EF4-FFF2-40B4-BE49-F238E27FC236}">
                  <a16:creationId xmlns:a16="http://schemas.microsoft.com/office/drawing/2014/main" id="{EDADB904-D91A-23A1-5754-8497B436A44C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6" name="Gráfico 3">
              <a:extLst>
                <a:ext uri="{FF2B5EF4-FFF2-40B4-BE49-F238E27FC236}">
                  <a16:creationId xmlns:a16="http://schemas.microsoft.com/office/drawing/2014/main" id="{C721F9B2-1DE1-AB81-EC49-39D3324CA75D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8" name="Forma libre 7">
                <a:extLst>
                  <a:ext uri="{FF2B5EF4-FFF2-40B4-BE49-F238E27FC236}">
                    <a16:creationId xmlns:a16="http://schemas.microsoft.com/office/drawing/2014/main" id="{C556D461-56FE-0B9A-414D-9700655A97A4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6E40B5F3-6D21-DB2F-F945-04A2A9545D89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ACB39DD0-2F20-9228-2580-36BE03AC237A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A6A76CC5-3BE8-B8BB-5594-222B47265411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0BABB04E-C59F-87E1-0FB5-552923E7B938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3" name="Forma libre 22">
                <a:extLst>
                  <a:ext uri="{FF2B5EF4-FFF2-40B4-BE49-F238E27FC236}">
                    <a16:creationId xmlns:a16="http://schemas.microsoft.com/office/drawing/2014/main" id="{8D469F4D-185F-C8E7-2EA7-E698EFCF7BAD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4" name="Forma libre 23">
                <a:extLst>
                  <a:ext uri="{FF2B5EF4-FFF2-40B4-BE49-F238E27FC236}">
                    <a16:creationId xmlns:a16="http://schemas.microsoft.com/office/drawing/2014/main" id="{3FDB021D-8A99-7236-42C0-3EEA2D1B2B45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5" name="Forma libre 24">
                <a:extLst>
                  <a:ext uri="{FF2B5EF4-FFF2-40B4-BE49-F238E27FC236}">
                    <a16:creationId xmlns:a16="http://schemas.microsoft.com/office/drawing/2014/main" id="{050A34EA-DEF8-2086-7D71-8C9933435489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A3EDA35-79B5-DEFB-5A3C-145146FA8AF8}"/>
                </a:ext>
              </a:extLst>
            </p:cNvPr>
            <p:cNvSpPr/>
            <p:nvPr/>
          </p:nvSpPr>
          <p:spPr>
            <a:xfrm>
              <a:off x="257485" y="4831799"/>
              <a:ext cx="1114088" cy="10483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 dirty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Título de la presentació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861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a libre 30">
            <a:extLst>
              <a:ext uri="{FF2B5EF4-FFF2-40B4-BE49-F238E27FC236}">
                <a16:creationId xmlns:a16="http://schemas.microsoft.com/office/drawing/2014/main" id="{DD4508F8-C777-A997-FA2E-3F5A71C5258B}"/>
              </a:ext>
            </a:extLst>
          </p:cNvPr>
          <p:cNvSpPr/>
          <p:nvPr/>
        </p:nvSpPr>
        <p:spPr>
          <a:xfrm flipV="1">
            <a:off x="902752" y="-1"/>
            <a:ext cx="7338508" cy="5143499"/>
          </a:xfrm>
          <a:custGeom>
            <a:avLst/>
            <a:gdLst>
              <a:gd name="connsiteX0" fmla="*/ 3669248 w 7338508"/>
              <a:gd name="connsiteY0" fmla="*/ 4786534 h 5143499"/>
              <a:gd name="connsiteX1" fmla="*/ 1454479 w 7338508"/>
              <a:gd name="connsiteY1" fmla="*/ 2571742 h 5143499"/>
              <a:gd name="connsiteX2" fmla="*/ 3669248 w 7338508"/>
              <a:gd name="connsiteY2" fmla="*/ 356962 h 5143499"/>
              <a:gd name="connsiteX3" fmla="*/ 5884029 w 7338508"/>
              <a:gd name="connsiteY3" fmla="*/ 2571742 h 5143499"/>
              <a:gd name="connsiteX4" fmla="*/ 3669248 w 7338508"/>
              <a:gd name="connsiteY4" fmla="*/ 4786534 h 5143499"/>
              <a:gd name="connsiteX5" fmla="*/ 1057043 w 7338508"/>
              <a:gd name="connsiteY5" fmla="*/ 5143499 h 5143499"/>
              <a:gd name="connsiteX6" fmla="*/ 6285242 w 7338508"/>
              <a:gd name="connsiteY6" fmla="*/ 5143499 h 5143499"/>
              <a:gd name="connsiteX7" fmla="*/ 6500944 w 7338508"/>
              <a:gd name="connsiteY7" fmla="*/ 4906151 h 5143499"/>
              <a:gd name="connsiteX8" fmla="*/ 7338508 w 7338508"/>
              <a:gd name="connsiteY8" fmla="*/ 2571742 h 5143499"/>
              <a:gd name="connsiteX9" fmla="*/ 6500944 w 7338508"/>
              <a:gd name="connsiteY9" fmla="*/ 241917 h 5143499"/>
              <a:gd name="connsiteX10" fmla="*/ 6281463 w 7338508"/>
              <a:gd name="connsiteY10" fmla="*/ 0 h 5143499"/>
              <a:gd name="connsiteX11" fmla="*/ 1057335 w 7338508"/>
              <a:gd name="connsiteY11" fmla="*/ 0 h 5143499"/>
              <a:gd name="connsiteX12" fmla="*/ 841121 w 7338508"/>
              <a:gd name="connsiteY12" fmla="*/ 237338 h 5143499"/>
              <a:gd name="connsiteX13" fmla="*/ 0 w 7338508"/>
              <a:gd name="connsiteY13" fmla="*/ 2571742 h 5143499"/>
              <a:gd name="connsiteX14" fmla="*/ 837560 w 7338508"/>
              <a:gd name="connsiteY14" fmla="*/ 490157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338508" h="5143499">
                <a:moveTo>
                  <a:pt x="3669248" y="4786534"/>
                </a:moveTo>
                <a:cubicBezTo>
                  <a:pt x="2446170" y="4786534"/>
                  <a:pt x="1454479" y="3794839"/>
                  <a:pt x="1454479" y="2571742"/>
                </a:cubicBezTo>
                <a:cubicBezTo>
                  <a:pt x="1454479" y="1348657"/>
                  <a:pt x="2446170" y="356962"/>
                  <a:pt x="3669248" y="356962"/>
                </a:cubicBezTo>
                <a:cubicBezTo>
                  <a:pt x="4892339" y="356962"/>
                  <a:pt x="5884029" y="1348657"/>
                  <a:pt x="5884029" y="2571742"/>
                </a:cubicBezTo>
                <a:cubicBezTo>
                  <a:pt x="5884029" y="3794839"/>
                  <a:pt x="4892339" y="4786534"/>
                  <a:pt x="3669248" y="4786534"/>
                </a:cubicBezTo>
                <a:close/>
                <a:moveTo>
                  <a:pt x="1057043" y="5143499"/>
                </a:moveTo>
                <a:lnTo>
                  <a:pt x="6285242" y="5143499"/>
                </a:lnTo>
                <a:lnTo>
                  <a:pt x="6500944" y="4906151"/>
                </a:lnTo>
                <a:cubicBezTo>
                  <a:pt x="7024256" y="4271959"/>
                  <a:pt x="7338508" y="3458759"/>
                  <a:pt x="7338508" y="2571742"/>
                </a:cubicBezTo>
                <a:cubicBezTo>
                  <a:pt x="7338508" y="1689549"/>
                  <a:pt x="7024256" y="876954"/>
                  <a:pt x="6500944" y="241917"/>
                </a:cubicBezTo>
                <a:lnTo>
                  <a:pt x="6281463" y="0"/>
                </a:lnTo>
                <a:lnTo>
                  <a:pt x="1057335" y="0"/>
                </a:lnTo>
                <a:lnTo>
                  <a:pt x="841121" y="237338"/>
                </a:lnTo>
                <a:cubicBezTo>
                  <a:pt x="316360" y="871528"/>
                  <a:pt x="0" y="1684726"/>
                  <a:pt x="0" y="2571742"/>
                </a:cubicBezTo>
                <a:cubicBezTo>
                  <a:pt x="0" y="3453940"/>
                  <a:pt x="314250" y="4266538"/>
                  <a:pt x="837560" y="4901577"/>
                </a:cubicBezTo>
                <a:close/>
              </a:path>
            </a:pathLst>
          </a:custGeom>
          <a:gradFill flip="none" rotWithShape="1">
            <a:gsLst>
              <a:gs pos="19000">
                <a:schemeClr val="bg2">
                  <a:alpha val="0"/>
                </a:schemeClr>
              </a:gs>
              <a:gs pos="99000">
                <a:schemeClr val="bg2">
                  <a:alpha val="25030"/>
                </a:schemeClr>
              </a:gs>
            </a:gsLst>
            <a:lin ang="18000000" scaled="0"/>
            <a:tileRect/>
          </a:gradFill>
          <a:ln w="154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AR">
              <a:solidFill>
                <a:srgbClr val="808080"/>
              </a:solidFill>
              <a:latin typeface="Pulso" pitchFamily="2" charset="0"/>
              <a:cs typeface="Arial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4EF7E33-0675-4803-07AE-C8183B18A7CB}"/>
              </a:ext>
            </a:extLst>
          </p:cNvPr>
          <p:cNvSpPr/>
          <p:nvPr/>
        </p:nvSpPr>
        <p:spPr>
          <a:xfrm>
            <a:off x="2778913" y="2296749"/>
            <a:ext cx="3586175" cy="5240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4000" spc="-7" err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Muchas</a:t>
            </a:r>
            <a:r>
              <a:rPr lang="en-US" sz="4000" spc="-7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 gracias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E337EF21-83DE-F00C-9CA4-22EA716562A2}"/>
              </a:ext>
            </a:extLst>
          </p:cNvPr>
          <p:cNvGrpSpPr/>
          <p:nvPr/>
        </p:nvGrpSpPr>
        <p:grpSpPr>
          <a:xfrm>
            <a:off x="564095" y="2486483"/>
            <a:ext cx="467586" cy="172800"/>
            <a:chOff x="564095" y="580298"/>
            <a:chExt cx="467586" cy="172800"/>
          </a:xfrm>
          <a:solidFill>
            <a:schemeClr val="bg2"/>
          </a:solidFill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9BF24761-0EE2-E348-4B83-C87EEE855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4095" y="653105"/>
              <a:ext cx="28800" cy="28800"/>
            </a:xfrm>
            <a:prstGeom prst="ellipse">
              <a:avLst/>
            </a:pr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+mj-lt"/>
              </a:endParaRPr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ABF54ECB-0BD6-4F79-FD22-1801AB55D7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5671" y="580298"/>
              <a:ext cx="386010" cy="172800"/>
            </a:xfrm>
            <a:custGeom>
              <a:avLst/>
              <a:gdLst>
                <a:gd name="connsiteX0" fmla="*/ 738293 w 969762"/>
                <a:gd name="connsiteY0" fmla="*/ 0 h 434120"/>
                <a:gd name="connsiteX1" fmla="*/ 765595 w 969762"/>
                <a:gd name="connsiteY1" fmla="*/ 10594 h 434120"/>
                <a:gd name="connsiteX2" fmla="*/ 958462 w 969762"/>
                <a:gd name="connsiteY2" fmla="*/ 191407 h 434120"/>
                <a:gd name="connsiteX3" fmla="*/ 958462 w 969762"/>
                <a:gd name="connsiteY3" fmla="*/ 242600 h 434120"/>
                <a:gd name="connsiteX4" fmla="*/ 958582 w 969762"/>
                <a:gd name="connsiteY4" fmla="*/ 242713 h 434120"/>
                <a:gd name="connsiteX5" fmla="*/ 765716 w 969762"/>
                <a:gd name="connsiteY5" fmla="*/ 423526 h 434120"/>
                <a:gd name="connsiteX6" fmla="*/ 711111 w 969762"/>
                <a:gd name="connsiteY6" fmla="*/ 423526 h 434120"/>
                <a:gd name="connsiteX7" fmla="*/ 711111 w 969762"/>
                <a:gd name="connsiteY7" fmla="*/ 372333 h 434120"/>
                <a:gd name="connsiteX8" fmla="*/ 838041 w 969762"/>
                <a:gd name="connsiteY8" fmla="*/ 253223 h 434120"/>
                <a:gd name="connsiteX9" fmla="*/ 499875 w 969762"/>
                <a:gd name="connsiteY9" fmla="*/ 253223 h 434120"/>
                <a:gd name="connsiteX10" fmla="*/ 499875 w 969762"/>
                <a:gd name="connsiteY10" fmla="*/ 253223 h 434120"/>
                <a:gd name="connsiteX11" fmla="*/ 275847 w 969762"/>
                <a:gd name="connsiteY11" fmla="*/ 253223 h 434120"/>
                <a:gd name="connsiteX12" fmla="*/ 262601 w 969762"/>
                <a:gd name="connsiteY12" fmla="*/ 253223 h 434120"/>
                <a:gd name="connsiteX13" fmla="*/ 38573 w 969762"/>
                <a:gd name="connsiteY13" fmla="*/ 253223 h 434120"/>
                <a:gd name="connsiteX14" fmla="*/ 0 w 969762"/>
                <a:gd name="connsiteY14" fmla="*/ 217060 h 434120"/>
                <a:gd name="connsiteX15" fmla="*/ 38573 w 969762"/>
                <a:gd name="connsiteY15" fmla="*/ 180898 h 434120"/>
                <a:gd name="connsiteX16" fmla="*/ 262601 w 969762"/>
                <a:gd name="connsiteY16" fmla="*/ 180898 h 434120"/>
                <a:gd name="connsiteX17" fmla="*/ 275847 w 969762"/>
                <a:gd name="connsiteY17" fmla="*/ 180898 h 434120"/>
                <a:gd name="connsiteX18" fmla="*/ 468339 w 969762"/>
                <a:gd name="connsiteY18" fmla="*/ 180898 h 434120"/>
                <a:gd name="connsiteX19" fmla="*/ 468340 w 969762"/>
                <a:gd name="connsiteY19" fmla="*/ 180897 h 434120"/>
                <a:gd name="connsiteX20" fmla="*/ 838161 w 969762"/>
                <a:gd name="connsiteY20" fmla="*/ 180897 h 434120"/>
                <a:gd name="connsiteX21" fmla="*/ 710990 w 969762"/>
                <a:gd name="connsiteY21" fmla="*/ 61787 h 434120"/>
                <a:gd name="connsiteX22" fmla="*/ 710990 w 969762"/>
                <a:gd name="connsiteY22" fmla="*/ 10594 h 434120"/>
                <a:gd name="connsiteX23" fmla="*/ 738293 w 969762"/>
                <a:gd name="connsiteY23" fmla="*/ 0 h 4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69762" h="434120">
                  <a:moveTo>
                    <a:pt x="738293" y="0"/>
                  </a:moveTo>
                  <a:cubicBezTo>
                    <a:pt x="748177" y="0"/>
                    <a:pt x="758062" y="3531"/>
                    <a:pt x="765595" y="10594"/>
                  </a:cubicBezTo>
                  <a:lnTo>
                    <a:pt x="958462" y="191407"/>
                  </a:lnTo>
                  <a:cubicBezTo>
                    <a:pt x="973529" y="205533"/>
                    <a:pt x="973529" y="228474"/>
                    <a:pt x="958462" y="242600"/>
                  </a:cubicBezTo>
                  <a:lnTo>
                    <a:pt x="958582" y="242713"/>
                  </a:lnTo>
                  <a:lnTo>
                    <a:pt x="765716" y="423526"/>
                  </a:lnTo>
                  <a:cubicBezTo>
                    <a:pt x="750648" y="437652"/>
                    <a:pt x="726178" y="437652"/>
                    <a:pt x="711111" y="423526"/>
                  </a:cubicBezTo>
                  <a:cubicBezTo>
                    <a:pt x="696043" y="409400"/>
                    <a:pt x="696043" y="386459"/>
                    <a:pt x="711111" y="372333"/>
                  </a:cubicBezTo>
                  <a:lnTo>
                    <a:pt x="838041" y="253223"/>
                  </a:lnTo>
                  <a:lnTo>
                    <a:pt x="499875" y="253223"/>
                  </a:lnTo>
                  <a:lnTo>
                    <a:pt x="499875" y="253223"/>
                  </a:lnTo>
                  <a:lnTo>
                    <a:pt x="275847" y="253223"/>
                  </a:lnTo>
                  <a:lnTo>
                    <a:pt x="262601" y="253223"/>
                  </a:lnTo>
                  <a:lnTo>
                    <a:pt x="38573" y="253223"/>
                  </a:lnTo>
                  <a:cubicBezTo>
                    <a:pt x="17238" y="253223"/>
                    <a:pt x="0" y="237063"/>
                    <a:pt x="0" y="217060"/>
                  </a:cubicBezTo>
                  <a:cubicBezTo>
                    <a:pt x="0" y="197058"/>
                    <a:pt x="17238" y="180898"/>
                    <a:pt x="38573" y="180898"/>
                  </a:cubicBezTo>
                  <a:lnTo>
                    <a:pt x="262601" y="180898"/>
                  </a:lnTo>
                  <a:lnTo>
                    <a:pt x="275847" y="180898"/>
                  </a:lnTo>
                  <a:lnTo>
                    <a:pt x="468339" y="180898"/>
                  </a:lnTo>
                  <a:lnTo>
                    <a:pt x="468340" y="180897"/>
                  </a:lnTo>
                  <a:lnTo>
                    <a:pt x="838161" y="180897"/>
                  </a:lnTo>
                  <a:lnTo>
                    <a:pt x="710990" y="61787"/>
                  </a:lnTo>
                  <a:cubicBezTo>
                    <a:pt x="695923" y="47661"/>
                    <a:pt x="695923" y="24720"/>
                    <a:pt x="710990" y="10594"/>
                  </a:cubicBezTo>
                  <a:cubicBezTo>
                    <a:pt x="718524" y="3531"/>
                    <a:pt x="728408" y="0"/>
                    <a:pt x="73829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31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B94DA3-0826-136E-F0BA-C0C5709A2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4E06CB20-4B13-445F-2A7F-9E7F63C36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C1E0C21-8F58-9A6A-D353-2027EE6AA409}"/>
              </a:ext>
            </a:extLst>
          </p:cNvPr>
          <p:cNvSpPr/>
          <p:nvPr/>
        </p:nvSpPr>
        <p:spPr>
          <a:xfrm>
            <a:off x="606581" y="3026815"/>
            <a:ext cx="3672387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</a:t>
            </a:r>
            <a:r>
              <a:rPr lang="es-ES_tradnl" sz="4400" spc="-7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2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A2505DED-F6E2-145D-BC48-9471CC74BFBD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D575BB69-0C16-F26B-56C2-7A56A3C4A3A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7EAA3A4C-6DE0-BB9A-C06E-C1728A87F1DB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58979BF0-A77B-5267-8F1B-A488E4F52B2A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69AA2F20-C1B1-D46D-A1B9-531F89BC4050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8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7773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1ECBD2-1E51-5F00-D628-E05639EAE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A6D88B33-E25B-E2B5-2C66-011FD7DFD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DD87C82-1FA6-7780-130B-025735A9103E}"/>
              </a:ext>
            </a:extLst>
          </p:cNvPr>
          <p:cNvSpPr/>
          <p:nvPr/>
        </p:nvSpPr>
        <p:spPr>
          <a:xfrm>
            <a:off x="606581" y="3026815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dirty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Sección </a:t>
            </a:r>
            <a:r>
              <a:rPr lang="es-ES_tradnl" sz="4400" spc="-7" dirty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úmero 3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14D2AF88-5883-35C2-8767-344617875B55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40495F61-0C52-EAB5-40CD-7C3939434F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E689467E-2742-5CAB-449F-9952E54D7994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F394FD42-FE99-FC65-AFD2-51ED3F4F221F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ángulo 4">
            <a:extLst>
              <a:ext uri="{FF2B5EF4-FFF2-40B4-BE49-F238E27FC236}">
                <a16:creationId xmlns:a16="http://schemas.microsoft.com/office/drawing/2014/main" id="{761B0024-0161-326F-8548-5999A5402FA8}"/>
              </a:ext>
            </a:extLst>
          </p:cNvPr>
          <p:cNvSpPr/>
          <p:nvPr/>
        </p:nvSpPr>
        <p:spPr>
          <a:xfrm>
            <a:off x="-2388985" y="4178862"/>
            <a:ext cx="2003284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20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</a:t>
            </a:r>
            <a:r>
              <a:rPr lang="es-ES_tradnl" sz="2000" b="1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Negocio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8FC30FA-94CF-84D1-8332-69FEBC1EB3BA}"/>
              </a:ext>
            </a:extLst>
          </p:cNvPr>
          <p:cNvSpPr/>
          <p:nvPr/>
        </p:nvSpPr>
        <p:spPr>
          <a:xfrm>
            <a:off x="-2388985" y="4879092"/>
            <a:ext cx="2003284" cy="130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  <a:spcAft>
                <a:spcPts val="1000"/>
              </a:spcAft>
            </a:pPr>
            <a:r>
              <a:rPr lang="es-ES_tradnl" sz="1000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INTERNACIONAL  ·  LOCAL</a:t>
            </a:r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4F26B2BA-44CE-7C7D-409B-1A1320119E68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8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310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3A0B7-36D2-5826-ECB2-9DE978B42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o 30">
            <a:extLst>
              <a:ext uri="{FF2B5EF4-FFF2-40B4-BE49-F238E27FC236}">
                <a16:creationId xmlns:a16="http://schemas.microsoft.com/office/drawing/2014/main" id="{F6F9590F-6D9A-88BC-BC04-764F092DF61D}"/>
              </a:ext>
            </a:extLst>
          </p:cNvPr>
          <p:cNvGrpSpPr/>
          <p:nvPr/>
        </p:nvGrpSpPr>
        <p:grpSpPr>
          <a:xfrm>
            <a:off x="4910746" y="2895248"/>
            <a:ext cx="515318" cy="112191"/>
            <a:chOff x="5588723" y="3144791"/>
            <a:chExt cx="515318" cy="112191"/>
          </a:xfrm>
          <a:noFill/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FF925C93-A547-8E05-4761-E49B003537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_tradnl" sz="700" noProof="0">
                <a:solidFill>
                  <a:srgbClr val="808080"/>
                </a:solidFill>
                <a:latin typeface="Pulso" pitchFamily="2" charset="0"/>
              </a:endParaRPr>
            </a:p>
          </p:txBody>
        </p:sp>
        <p:sp>
          <p:nvSpPr>
            <p:cNvPr id="33" name="Rectángulo 61">
              <a:extLst>
                <a:ext uri="{FF2B5EF4-FFF2-40B4-BE49-F238E27FC236}">
                  <a16:creationId xmlns:a16="http://schemas.microsoft.com/office/drawing/2014/main" id="{18A18FAF-9EBB-297E-657D-80FD98934976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grpFill/>
            <a:ln w="1905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 noProof="0">
                <a:solidFill>
                  <a:schemeClr val="tx1"/>
                </a:solidFill>
                <a:latin typeface="Pulso" pitchFamily="2" charset="0"/>
              </a:endParaRPr>
            </a:p>
          </p:txBody>
        </p:sp>
        <p:cxnSp>
          <p:nvCxnSpPr>
            <p:cNvPr id="34" name="Conector recto 33">
              <a:extLst>
                <a:ext uri="{FF2B5EF4-FFF2-40B4-BE49-F238E27FC236}">
                  <a16:creationId xmlns:a16="http://schemas.microsoft.com/office/drawing/2014/main" id="{3CC7572C-A0DC-AB40-03F2-4A82A3276E78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grpFill/>
            <a:ln w="1905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B483CD37-B7CE-EB75-BD7B-808F00ABFBB3}"/>
              </a:ext>
            </a:extLst>
          </p:cNvPr>
          <p:cNvSpPr/>
          <p:nvPr/>
        </p:nvSpPr>
        <p:spPr>
          <a:xfrm>
            <a:off x="606581" y="2108281"/>
            <a:ext cx="3873626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 dirty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Este bloque es un separador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B738E5-14BF-EEEA-08E4-3A1F1D99C6D7}"/>
              </a:ext>
            </a:extLst>
          </p:cNvPr>
          <p:cNvSpPr txBox="1">
            <a:spLocks/>
          </p:cNvSpPr>
          <p:nvPr/>
        </p:nvSpPr>
        <p:spPr>
          <a:xfrm>
            <a:off x="6062981" y="2742722"/>
            <a:ext cx="1983033" cy="4192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defRPr sz="4400" spc="-7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defRPr>
            </a:lvl1pPr>
          </a:lstStyle>
          <a:p>
            <a:r>
              <a:rPr lang="es-ES_tradnl" sz="3200" noProof="0" dirty="0">
                <a:latin typeface="Pulso" pitchFamily="2" charset="0"/>
              </a:rPr>
              <a:t>Sección A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10387C56-31F7-2F3E-34D3-090DE8F599AB}"/>
              </a:ext>
            </a:extLst>
          </p:cNvPr>
          <p:cNvSpPr/>
          <p:nvPr/>
        </p:nvSpPr>
        <p:spPr>
          <a:xfrm>
            <a:off x="5787448" y="2548586"/>
            <a:ext cx="2421518" cy="733930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rgbClr val="FFFFFF">
                <a:alpha val="75000"/>
              </a:srgb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000"/>
              </a:spcBef>
            </a:pPr>
            <a:endParaRPr lang="es-ES_tradnl" sz="1400" b="1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78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05025-EDA4-1E48-E660-EDC30ADF4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F4D834A-CDC4-85FA-6ABC-12C787F1672D}"/>
              </a:ext>
            </a:extLst>
          </p:cNvPr>
          <p:cNvSpPr/>
          <p:nvPr/>
        </p:nvSpPr>
        <p:spPr>
          <a:xfrm>
            <a:off x="606581" y="2108281"/>
            <a:ext cx="3873626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 dirty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Este bloque es un separador</a:t>
            </a:r>
          </a:p>
        </p:txBody>
      </p:sp>
    </p:spTree>
    <p:extLst>
      <p:ext uri="{BB962C8B-B14F-4D97-AF65-F5344CB8AC3E}">
        <p14:creationId xmlns:p14="http://schemas.microsoft.com/office/powerpoint/2010/main" val="101461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E9257974-1400-00A5-F162-1A6E220C9B66}"/>
              </a:ext>
            </a:extLst>
          </p:cNvPr>
          <p:cNvSpPr/>
          <p:nvPr/>
        </p:nvSpPr>
        <p:spPr>
          <a:xfrm>
            <a:off x="606581" y="2108281"/>
            <a:ext cx="3873626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 dirty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Este bloque es un separador</a:t>
            </a:r>
          </a:p>
        </p:txBody>
      </p:sp>
    </p:spTree>
    <p:extLst>
      <p:ext uri="{BB962C8B-B14F-4D97-AF65-F5344CB8AC3E}">
        <p14:creationId xmlns:p14="http://schemas.microsoft.com/office/powerpoint/2010/main" val="164131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71AC6-14B2-3163-C593-1C9A62199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: esquinas redondeadas 57">
            <a:extLst>
              <a:ext uri="{FF2B5EF4-FFF2-40B4-BE49-F238E27FC236}">
                <a16:creationId xmlns:a16="http://schemas.microsoft.com/office/drawing/2014/main" id="{1FBF0155-1ACE-07AB-6833-9F4FB6E99BDE}"/>
              </a:ext>
            </a:extLst>
          </p:cNvPr>
          <p:cNvSpPr/>
          <p:nvPr/>
        </p:nvSpPr>
        <p:spPr bwMode="auto">
          <a:xfrm>
            <a:off x="3709129" y="675915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2D1D1C38-AF45-6DF9-55A7-6122773BDC8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878334" y="1163831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3EE49962-2B64-1D2F-8FF3-BB7F6D48BE2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712859"/>
              </p:ext>
            </p:extLst>
          </p:nvPr>
        </p:nvGraphicFramePr>
        <p:xfrm>
          <a:off x="4937142" y="950807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0" name="Title 1">
            <a:extLst>
              <a:ext uri="{FF2B5EF4-FFF2-40B4-BE49-F238E27FC236}">
                <a16:creationId xmlns:a16="http://schemas.microsoft.com/office/drawing/2014/main" id="{2C48D400-1254-7ECC-D029-994E43F048E9}"/>
              </a:ext>
            </a:extLst>
          </p:cNvPr>
          <p:cNvSpPr txBox="1">
            <a:spLocks/>
          </p:cNvSpPr>
          <p:nvPr/>
        </p:nvSpPr>
        <p:spPr>
          <a:xfrm>
            <a:off x="5012614" y="794454"/>
            <a:ext cx="1049967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 dirty="0">
                <a:solidFill>
                  <a:srgbClr val="FFFFFF"/>
                </a:solidFill>
              </a:rPr>
              <a:t>Título simulado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DB51A50D-2720-9783-3B8C-7400E9F96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01278" y="1320042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 dirty="0">
                <a:solidFill>
                  <a:srgbClr val="FFFFFF"/>
                </a:solidFill>
                <a:latin typeface="Pulso" pitchFamily="2" charset="0"/>
              </a:rPr>
              <a:t>33%</a:t>
            </a: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193BD54C-7B54-EDE1-8B15-ED79F41D86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1590014"/>
              </p:ext>
            </p:extLst>
          </p:nvPr>
        </p:nvGraphicFramePr>
        <p:xfrm>
          <a:off x="6709759" y="950807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4" name="CuadroTexto 33">
            <a:extLst>
              <a:ext uri="{FF2B5EF4-FFF2-40B4-BE49-F238E27FC236}">
                <a16:creationId xmlns:a16="http://schemas.microsoft.com/office/drawing/2014/main" id="{927D228A-8F9B-9F5B-2437-3C2698E4C23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973895" y="1320042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 dirty="0">
                <a:solidFill>
                  <a:srgbClr val="FFFFFF"/>
                </a:solidFill>
                <a:latin typeface="Pulso" pitchFamily="2" charset="0"/>
              </a:rPr>
              <a:t>11%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EF86535-D8A6-807F-8DCA-D48E8D60AB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650951" y="1163831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  <p:sp>
        <p:nvSpPr>
          <p:cNvPr id="5" name="Rectángulo: esquinas redondeadas 57">
            <a:extLst>
              <a:ext uri="{FF2B5EF4-FFF2-40B4-BE49-F238E27FC236}">
                <a16:creationId xmlns:a16="http://schemas.microsoft.com/office/drawing/2014/main" id="{015D3583-68AA-68ED-4BA9-9D37031DE66D}"/>
              </a:ext>
            </a:extLst>
          </p:cNvPr>
          <p:cNvSpPr/>
          <p:nvPr/>
        </p:nvSpPr>
        <p:spPr bwMode="auto">
          <a:xfrm>
            <a:off x="3709129" y="2001543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7" name="Rectángulo: esquinas redondeadas 57">
            <a:extLst>
              <a:ext uri="{FF2B5EF4-FFF2-40B4-BE49-F238E27FC236}">
                <a16:creationId xmlns:a16="http://schemas.microsoft.com/office/drawing/2014/main" id="{0ECEE8D5-484E-59E4-B506-92BC89E5819C}"/>
              </a:ext>
            </a:extLst>
          </p:cNvPr>
          <p:cNvSpPr/>
          <p:nvPr/>
        </p:nvSpPr>
        <p:spPr bwMode="auto">
          <a:xfrm>
            <a:off x="3709129" y="3341110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D9909573-F90D-3FF9-D352-76798E8A3D4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96064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0" imgW="378" imgH="379" progId="TCLayout.ActiveDocument.1">
                  <p:embed/>
                </p:oleObj>
              </mc:Choice>
              <mc:Fallback>
                <p:oleObj name="Diapositiva de think-cell" r:id="rId20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09573-F90D-3FF9-D352-76798E8A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79F74BF7-09EE-D167-5FB2-34F1D3FC22E1}"/>
              </a:ext>
            </a:extLst>
          </p:cNvPr>
          <p:cNvSpPr txBox="1">
            <a:spLocks/>
          </p:cNvSpPr>
          <p:nvPr/>
        </p:nvSpPr>
        <p:spPr>
          <a:xfrm>
            <a:off x="540657" y="1815401"/>
            <a:ext cx="2747025" cy="7979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sed do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mpor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ncididunt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ut labore e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dolore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gna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liqua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 Ut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ad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mini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veniam</a:t>
            </a:r>
            <a:r>
              <a:rPr lang="es-ES_tradnl" sz="1100" noProof="0" dirty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9AD89C79-F4DC-1A4A-71CD-4D5D249803AC}"/>
              </a:ext>
            </a:extLst>
          </p:cNvPr>
          <p:cNvSpPr/>
          <p:nvPr/>
        </p:nvSpPr>
        <p:spPr>
          <a:xfrm>
            <a:off x="3840990" y="795085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22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23"/>
                <a:tile tx="0" ty="0" sx="100000" sy="100000" flip="none" algn="tl"/>
              </a:blipFill>
              <a:latin typeface="+mj-lt"/>
            </a:endParaRPr>
          </a:p>
        </p:txBody>
      </p:sp>
      <p:sp>
        <p:nvSpPr>
          <p:cNvPr id="37" name="Rectángulo redondeado 36">
            <a:extLst>
              <a:ext uri="{FF2B5EF4-FFF2-40B4-BE49-F238E27FC236}">
                <a16:creationId xmlns:a16="http://schemas.microsoft.com/office/drawing/2014/main" id="{F071FA6B-A75D-97B6-CEED-9C83C0078AAC}"/>
              </a:ext>
            </a:extLst>
          </p:cNvPr>
          <p:cNvSpPr/>
          <p:nvPr/>
        </p:nvSpPr>
        <p:spPr>
          <a:xfrm>
            <a:off x="3840990" y="2125906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24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23"/>
                <a:tile tx="0" ty="0" sx="100000" sy="100000" flip="none" algn="tl"/>
              </a:blipFill>
              <a:latin typeface="+mj-lt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C47CAD67-18A9-5D7F-0055-3B52506BCC6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78334" y="2489459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9C61574E-3E96-3F41-241E-AA2DC6D52AA1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03234552"/>
              </p:ext>
            </p:extLst>
          </p:nvPr>
        </p:nvGraphicFramePr>
        <p:xfrm>
          <a:off x="4937142" y="2276435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40" name="Title 1">
            <a:extLst>
              <a:ext uri="{FF2B5EF4-FFF2-40B4-BE49-F238E27FC236}">
                <a16:creationId xmlns:a16="http://schemas.microsoft.com/office/drawing/2014/main" id="{155551DB-ACB1-CF44-DD77-EDBE9CBAD480}"/>
              </a:ext>
            </a:extLst>
          </p:cNvPr>
          <p:cNvSpPr txBox="1">
            <a:spLocks/>
          </p:cNvSpPr>
          <p:nvPr/>
        </p:nvSpPr>
        <p:spPr>
          <a:xfrm>
            <a:off x="5012614" y="2120082"/>
            <a:ext cx="1049967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 dirty="0">
                <a:solidFill>
                  <a:srgbClr val="FFFFFF"/>
                </a:solidFill>
              </a:rPr>
              <a:t>Título simulado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4CBE6EC6-E929-5804-9A25-679FF3A8B8D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201278" y="2645670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 dirty="0">
                <a:solidFill>
                  <a:srgbClr val="FFFFFF"/>
                </a:solidFill>
                <a:latin typeface="Pulso" pitchFamily="2" charset="0"/>
              </a:rPr>
              <a:t>74%</a:t>
            </a:r>
          </a:p>
        </p:txBody>
      </p:sp>
      <p:graphicFrame>
        <p:nvGraphicFramePr>
          <p:cNvPr id="43" name="Chart 3">
            <a:extLst>
              <a:ext uri="{FF2B5EF4-FFF2-40B4-BE49-F238E27FC236}">
                <a16:creationId xmlns:a16="http://schemas.microsoft.com/office/drawing/2014/main" id="{DFF5877E-46CF-87C7-2838-BDCC7A8D43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9291667"/>
              </p:ext>
            </p:extLst>
          </p:nvPr>
        </p:nvGraphicFramePr>
        <p:xfrm>
          <a:off x="6709759" y="2276435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4" name="CuadroTexto 43">
            <a:extLst>
              <a:ext uri="{FF2B5EF4-FFF2-40B4-BE49-F238E27FC236}">
                <a16:creationId xmlns:a16="http://schemas.microsoft.com/office/drawing/2014/main" id="{26EF7A20-433E-3F91-1972-11E750D6BB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973895" y="2645670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 dirty="0">
                <a:solidFill>
                  <a:srgbClr val="FFFFFF"/>
                </a:solidFill>
                <a:latin typeface="Pulso" pitchFamily="2" charset="0"/>
              </a:rPr>
              <a:t>78%</a:t>
            </a:r>
          </a:p>
        </p:txBody>
      </p:sp>
      <p:sp>
        <p:nvSpPr>
          <p:cNvPr id="46" name="Rectángulo redondeado 45">
            <a:extLst>
              <a:ext uri="{FF2B5EF4-FFF2-40B4-BE49-F238E27FC236}">
                <a16:creationId xmlns:a16="http://schemas.microsoft.com/office/drawing/2014/main" id="{0121953A-8242-760D-F65C-3BD3F85660B1}"/>
              </a:ext>
            </a:extLst>
          </p:cNvPr>
          <p:cNvSpPr/>
          <p:nvPr/>
        </p:nvSpPr>
        <p:spPr>
          <a:xfrm>
            <a:off x="3840990" y="3456727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27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23"/>
                <a:tile tx="0" ty="0" sx="100000" sy="100000" flip="none" algn="tl"/>
              </a:blipFill>
              <a:latin typeface="+mj-lt"/>
            </a:endParaRP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629287BA-2F1F-FFFB-A517-ACC0590CB7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6125838"/>
              </p:ext>
            </p:extLst>
          </p:nvPr>
        </p:nvGraphicFramePr>
        <p:xfrm>
          <a:off x="4937142" y="3607256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9" name="Title 1">
            <a:extLst>
              <a:ext uri="{FF2B5EF4-FFF2-40B4-BE49-F238E27FC236}">
                <a16:creationId xmlns:a16="http://schemas.microsoft.com/office/drawing/2014/main" id="{4B846CBD-CCAC-F463-936B-7ECAAEBDE799}"/>
              </a:ext>
            </a:extLst>
          </p:cNvPr>
          <p:cNvSpPr txBox="1">
            <a:spLocks/>
          </p:cNvSpPr>
          <p:nvPr/>
        </p:nvSpPr>
        <p:spPr>
          <a:xfrm>
            <a:off x="5012614" y="3450903"/>
            <a:ext cx="1550104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Adopción y preparación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30086398-6656-309C-36CA-BE1757175C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201278" y="3976491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 dirty="0">
                <a:solidFill>
                  <a:srgbClr val="FFFFFF"/>
                </a:solidFill>
                <a:latin typeface="Pulso" pitchFamily="2" charset="0"/>
              </a:rPr>
              <a:t>36%</a:t>
            </a:r>
          </a:p>
        </p:txBody>
      </p: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E8A18C95-7B89-AECA-0FA8-F0313DB67A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201184"/>
              </p:ext>
            </p:extLst>
          </p:nvPr>
        </p:nvGraphicFramePr>
        <p:xfrm>
          <a:off x="6709759" y="3607256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53" name="CuadroTexto 52">
            <a:extLst>
              <a:ext uri="{FF2B5EF4-FFF2-40B4-BE49-F238E27FC236}">
                <a16:creationId xmlns:a16="http://schemas.microsoft.com/office/drawing/2014/main" id="{57F3187F-A610-B78C-E442-849640C61A4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973895" y="3976491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88%</a:t>
            </a:r>
          </a:p>
        </p:txBody>
      </p:sp>
      <p:sp>
        <p:nvSpPr>
          <p:cNvPr id="17" name="Marcador de texto 8">
            <a:extLst>
              <a:ext uri="{FF2B5EF4-FFF2-40B4-BE49-F238E27FC236}">
                <a16:creationId xmlns:a16="http://schemas.microsoft.com/office/drawing/2014/main" id="{8687F140-CB85-7CA8-92C3-4E7DBF2417DA}"/>
              </a:ext>
            </a:extLst>
          </p:cNvPr>
          <p:cNvSpPr txBox="1">
            <a:spLocks/>
          </p:cNvSpPr>
          <p:nvPr/>
        </p:nvSpPr>
        <p:spPr>
          <a:xfrm>
            <a:off x="540657" y="3009304"/>
            <a:ext cx="2747025" cy="391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rem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psum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olor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t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et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onsectetur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ipiscing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lit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sed do </a:t>
            </a:r>
            <a:r>
              <a:rPr lang="es-ES_tradnl" sz="1100" noProof="0" dirty="0" err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iusmod</a:t>
            </a:r>
            <a:r>
              <a:rPr lang="es-ES_tradnl" sz="1100" noProof="0" dirty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9BBB27CA-65A7-0646-392A-7B24CC6F6084}"/>
              </a:ext>
            </a:extLst>
          </p:cNvPr>
          <p:cNvCxnSpPr>
            <a:cxnSpLocks/>
          </p:cNvCxnSpPr>
          <p:nvPr/>
        </p:nvCxnSpPr>
        <p:spPr>
          <a:xfrm>
            <a:off x="540657" y="2873180"/>
            <a:ext cx="2651007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26498CE6-69E0-A5F3-3BB2-E0843AE869EF}"/>
              </a:ext>
            </a:extLst>
          </p:cNvPr>
          <p:cNvCxnSpPr>
            <a:cxnSpLocks/>
          </p:cNvCxnSpPr>
          <p:nvPr/>
        </p:nvCxnSpPr>
        <p:spPr>
          <a:xfrm>
            <a:off x="540657" y="3537139"/>
            <a:ext cx="2651007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F2FCDB0-C99D-8B42-828A-94C7527AC8C2}"/>
              </a:ext>
            </a:extLst>
          </p:cNvPr>
          <p:cNvSpPr txBox="1">
            <a:spLocks/>
          </p:cNvSpPr>
          <p:nvPr/>
        </p:nvSpPr>
        <p:spPr>
          <a:xfrm>
            <a:off x="540657" y="681107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 dirty="0">
                <a:solidFill>
                  <a:schemeClr val="tx2"/>
                </a:solidFill>
                <a:latin typeface="Pulso Light" pitchFamily="2" charset="0"/>
              </a:rPr>
              <a:t>Este bloque es un</a:t>
            </a:r>
          </a:p>
          <a:p>
            <a:pPr>
              <a:lnSpc>
                <a:spcPts val="3000"/>
              </a:lnSpc>
            </a:pPr>
            <a:r>
              <a:rPr lang="es-ES_tradnl" sz="2600" b="0" noProof="0" dirty="0">
                <a:solidFill>
                  <a:schemeClr val="bg2"/>
                </a:solidFill>
                <a:latin typeface="Pulso Light" pitchFamily="2" charset="0"/>
              </a:rPr>
              <a:t>título simulad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2A7BC1A-6205-7F1A-1E1D-752AAA8A428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50951" y="2489459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13127F48-689F-A41F-C69F-B63D0294B7F2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878334" y="3829026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1720A21A-3310-B6C8-495E-848F98819923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650951" y="3829026"/>
            <a:ext cx="63360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 dirty="0" err="1">
                <a:solidFill>
                  <a:srgbClr val="FFFFFF"/>
                </a:solidFill>
              </a:rPr>
              <a:t>Lorem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ipsum</a:t>
            </a:r>
            <a:r>
              <a:rPr lang="es-AR" sz="800" dirty="0">
                <a:solidFill>
                  <a:srgbClr val="FFFFFF"/>
                </a:solidFill>
              </a:rPr>
              <a:t> dolor </a:t>
            </a:r>
            <a:r>
              <a:rPr lang="es-AR" sz="800" dirty="0" err="1">
                <a:solidFill>
                  <a:srgbClr val="FFFFFF"/>
                </a:solidFill>
              </a:rPr>
              <a:t>si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met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consectetur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adipiscing</a:t>
            </a:r>
            <a:r>
              <a:rPr lang="es-AR" sz="800" dirty="0">
                <a:solidFill>
                  <a:srgbClr val="FFFFFF"/>
                </a:solidFill>
              </a:rPr>
              <a:t> </a:t>
            </a:r>
            <a:r>
              <a:rPr lang="es-AR" sz="800" dirty="0" err="1">
                <a:solidFill>
                  <a:srgbClr val="FFFFFF"/>
                </a:solidFill>
              </a:rPr>
              <a:t>elit</a:t>
            </a:r>
            <a:r>
              <a:rPr lang="es-AR" sz="800" dirty="0">
                <a:solidFill>
                  <a:srgbClr val="FFFFFF"/>
                </a:solidFill>
              </a:rPr>
              <a:t>, sed do</a:t>
            </a:r>
          </a:p>
        </p:txBody>
      </p:sp>
    </p:spTree>
    <p:extLst>
      <p:ext uri="{BB962C8B-B14F-4D97-AF65-F5344CB8AC3E}">
        <p14:creationId xmlns:p14="http://schemas.microsoft.com/office/powerpoint/2010/main" val="261738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heme/theme1.xml><?xml version="1.0" encoding="utf-8"?>
<a:theme xmlns:a="http://schemas.openxmlformats.org/drawingml/2006/main" name="Investor Day">
  <a:themeElements>
    <a:clrScheme name="Template Institucional">
      <a:dk1>
        <a:srgbClr val="24272A"/>
      </a:dk1>
      <a:lt1>
        <a:srgbClr val="F0F0F0"/>
      </a:lt1>
      <a:dk2>
        <a:srgbClr val="052C50"/>
      </a:dk2>
      <a:lt2>
        <a:srgbClr val="00B7EB"/>
      </a:lt2>
      <a:accent1>
        <a:srgbClr val="8A5CF2"/>
      </a:accent1>
      <a:accent2>
        <a:srgbClr val="00B7EB"/>
      </a:accent2>
      <a:accent3>
        <a:srgbClr val="199AE0"/>
      </a:accent3>
      <a:accent4>
        <a:srgbClr val="052C50"/>
      </a:accent4>
      <a:accent5>
        <a:srgbClr val="FE5757"/>
      </a:accent5>
      <a:accent6>
        <a:srgbClr val="03DCAB"/>
      </a:accent6>
      <a:hlink>
        <a:srgbClr val="05D675"/>
      </a:hlink>
      <a:folHlink>
        <a:srgbClr val="BFBFBF"/>
      </a:folHlink>
    </a:clrScheme>
    <a:fontScheme name="Custom 4">
      <a:majorFont>
        <a:latin typeface="Montserrat 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8100" cap="rnd" cmpd="sng">
          <a:noFill/>
          <a:prstDash val="sysDash"/>
          <a:miter lim="800000"/>
        </a:ln>
        <a:effectLst>
          <a:outerShdw blurRad="38100" dist="12700" dir="5400000" algn="t" rotWithShape="0">
            <a:prstClr val="black">
              <a:alpha val="15000"/>
            </a:prstClr>
          </a:outerShdw>
        </a:effectLst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ctr">
          <a:defRPr sz="900" dirty="0">
            <a:latin typeface="Pulso Light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BFB44DCEE8BD428F946E4783DD99D6" ma:contentTypeVersion="4" ma:contentTypeDescription="Create a new document." ma:contentTypeScope="" ma:versionID="c30387d9df88bf6dbd0c2abd057ec678">
  <xsd:schema xmlns:xsd="http://www.w3.org/2001/XMLSchema" xmlns:xs="http://www.w3.org/2001/XMLSchema" xmlns:p="http://schemas.microsoft.com/office/2006/metadata/properties" xmlns:ns2="596d1336-5af1-4129-8851-4ec47734e3e9" targetNamespace="http://schemas.microsoft.com/office/2006/metadata/properties" ma:root="true" ma:fieldsID="e86a82f535525f5453ccaaa1f25ef1b7" ns2:_="">
    <xsd:import namespace="596d1336-5af1-4129-8851-4ec47734e3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6d1336-5af1-4129-8851-4ec47734e3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9AF2E2-7A3E-4416-BF11-E536E1498591}">
  <ds:schemaRefs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96d1336-5af1-4129-8851-4ec47734e3e9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71870B6-6B6D-438D-8265-629590AE2E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B04DC4-8993-4BB6-9896-3346858BC746}">
  <ds:schemaRefs>
    <ds:schemaRef ds:uri="596d1336-5af1-4129-8851-4ec47734e3e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Blank Presentation.pot</Template>
  <TotalTime>60</TotalTime>
  <Words>4358</Words>
  <Application>Microsoft Macintosh PowerPoint</Application>
  <PresentationFormat>Presentación en pantalla (16:9)</PresentationFormat>
  <Paragraphs>324</Paragraphs>
  <Slides>31</Slides>
  <Notes>1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42" baseType="lpstr">
      <vt:lpstr>Aptos</vt:lpstr>
      <vt:lpstr>Arial</vt:lpstr>
      <vt:lpstr>Calibri</vt:lpstr>
      <vt:lpstr>FrutigerBlack</vt:lpstr>
      <vt:lpstr>FrutigerBold</vt:lpstr>
      <vt:lpstr>Pulso</vt:lpstr>
      <vt:lpstr>Pulso Light</vt:lpstr>
      <vt:lpstr>Times New Roman</vt:lpstr>
      <vt:lpstr>Tipo de letra del sistema regular</vt:lpstr>
      <vt:lpstr>Investor Day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rategia 2026-2030</dc:title>
  <dc:subject/>
  <dc:creator>Luciano Zurlo</dc:creator>
  <cp:keywords/>
  <dc:description/>
  <cp:lastModifiedBy>Luciano Zurlo</cp:lastModifiedBy>
  <cp:revision>4</cp:revision>
  <cp:lastPrinted>2021-05-07T16:19:16Z</cp:lastPrinted>
  <dcterms:created xsi:type="dcterms:W3CDTF">2000-03-31T15:41:09Z</dcterms:created>
  <dcterms:modified xsi:type="dcterms:W3CDTF">2025-12-16T12:45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BFB44DCEE8BD428F946E4783DD99D6</vt:lpwstr>
  </property>
</Properties>
</file>